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3.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4.xml" ContentType="application/vnd.openxmlformats-officedocument.theme+xml"/>
  <Override PartName="/ppt/slideLayouts/slideLayout227.xml" ContentType="application/vnd.openxmlformats-officedocument.presentationml.slideLayout+xml"/>
  <Override PartName="/ppt/theme/theme5.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6.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7.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8.xml" ContentType="application/vnd.openxmlformats-officedocument.theme+xml"/>
  <Override PartName="/ppt/slideLayouts/slideLayout263.xml" ContentType="application/vnd.openxmlformats-officedocument.presentationml.slideLayout+xml"/>
  <Override PartName="/ppt/theme/theme9.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0.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11.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12.xml" ContentType="application/vnd.openxmlformats-officedocument.theme+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3.xml" ContentType="application/vnd.openxmlformats-officedocument.theme+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4.xml" ContentType="application/vnd.openxmlformats-officedocument.theme+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5.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6.xml" ContentType="application/vnd.openxmlformats-officedocument.theme+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7.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theme/theme18.xml" ContentType="application/vnd.openxmlformats-officedocument.theme+xml"/>
  <Override PartName="/ppt/slideLayouts/slideLayout361.xml" ContentType="application/vnd.openxmlformats-officedocument.presentationml.slideLayout+xml"/>
  <Override PartName="/ppt/theme/theme19.xml" ContentType="application/vnd.openxmlformats-officedocument.theme+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theme/theme20.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theme/theme21.xml" ContentType="application/vnd.openxmlformats-officedocument.theme+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theme/theme22.xml" ContentType="application/vnd.openxmlformats-officedocument.theme+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theme/theme2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theme/theme2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omments/modernComment_10E_D4919EC8.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4620" r:id="rId2"/>
    <p:sldMasterId id="2147483807" r:id="rId3"/>
    <p:sldMasterId id="2147483750" r:id="rId4"/>
    <p:sldMasterId id="2147483703" r:id="rId5"/>
    <p:sldMasterId id="2147483872" r:id="rId6"/>
    <p:sldMasterId id="2147484819" r:id="rId7"/>
    <p:sldMasterId id="2147483990" r:id="rId8"/>
    <p:sldMasterId id="2147483963" r:id="rId9"/>
    <p:sldMasterId id="2147483972" r:id="rId10"/>
    <p:sldMasterId id="2147483965" r:id="rId11"/>
    <p:sldMasterId id="2147483945" r:id="rId12"/>
    <p:sldMasterId id="2147483933" r:id="rId13"/>
    <p:sldMasterId id="2147483818" r:id="rId14"/>
    <p:sldMasterId id="2147484009" r:id="rId15"/>
    <p:sldMasterId id="2147484811" r:id="rId16"/>
    <p:sldMasterId id="2147483846" r:id="rId17"/>
    <p:sldMasterId id="2147483830" r:id="rId18"/>
    <p:sldMasterId id="2147484818" r:id="rId19"/>
    <p:sldMasterId id="2147484638" r:id="rId20"/>
    <p:sldMasterId id="2147483706" r:id="rId21"/>
    <p:sldMasterId id="2147483756" r:id="rId22"/>
    <p:sldMasterId id="2147484858" r:id="rId23"/>
    <p:sldMasterId id="2147485034" r:id="rId24"/>
  </p:sldMasterIdLst>
  <p:notesMasterIdLst>
    <p:notesMasterId r:id="rId114"/>
  </p:notesMasterIdLst>
  <p:sldIdLst>
    <p:sldId id="257" r:id="rId25"/>
    <p:sldId id="899" r:id="rId26"/>
    <p:sldId id="897" r:id="rId27"/>
    <p:sldId id="895" r:id="rId28"/>
    <p:sldId id="896" r:id="rId29"/>
    <p:sldId id="258" r:id="rId30"/>
    <p:sldId id="798" r:id="rId31"/>
    <p:sldId id="799" r:id="rId32"/>
    <p:sldId id="261" r:id="rId33"/>
    <p:sldId id="800" r:id="rId34"/>
    <p:sldId id="262" r:id="rId35"/>
    <p:sldId id="263" r:id="rId36"/>
    <p:sldId id="264" r:id="rId37"/>
    <p:sldId id="823" r:id="rId38"/>
    <p:sldId id="266" r:id="rId39"/>
    <p:sldId id="267" r:id="rId40"/>
    <p:sldId id="268" r:id="rId41"/>
    <p:sldId id="269" r:id="rId42"/>
    <p:sldId id="270" r:id="rId43"/>
    <p:sldId id="278" r:id="rId44"/>
    <p:sldId id="277" r:id="rId45"/>
    <p:sldId id="356" r:id="rId46"/>
    <p:sldId id="348" r:id="rId47"/>
    <p:sldId id="870" r:id="rId48"/>
    <p:sldId id="871" r:id="rId49"/>
    <p:sldId id="333" r:id="rId50"/>
    <p:sldId id="821" r:id="rId51"/>
    <p:sldId id="820" r:id="rId52"/>
    <p:sldId id="388" r:id="rId53"/>
    <p:sldId id="864" r:id="rId54"/>
    <p:sldId id="288" r:id="rId55"/>
    <p:sldId id="276" r:id="rId56"/>
    <p:sldId id="300" r:id="rId57"/>
    <p:sldId id="818" r:id="rId58"/>
    <p:sldId id="872" r:id="rId59"/>
    <p:sldId id="890" r:id="rId60"/>
    <p:sldId id="873" r:id="rId61"/>
    <p:sldId id="874" r:id="rId62"/>
    <p:sldId id="891" r:id="rId63"/>
    <p:sldId id="875" r:id="rId64"/>
    <p:sldId id="892" r:id="rId65"/>
    <p:sldId id="876" r:id="rId66"/>
    <p:sldId id="883" r:id="rId67"/>
    <p:sldId id="884" r:id="rId68"/>
    <p:sldId id="889" r:id="rId69"/>
    <p:sldId id="888" r:id="rId70"/>
    <p:sldId id="877" r:id="rId71"/>
    <p:sldId id="886" r:id="rId72"/>
    <p:sldId id="878" r:id="rId73"/>
    <p:sldId id="881" r:id="rId74"/>
    <p:sldId id="880" r:id="rId75"/>
    <p:sldId id="882" r:id="rId76"/>
    <p:sldId id="879" r:id="rId77"/>
    <p:sldId id="838" r:id="rId78"/>
    <p:sldId id="837" r:id="rId79"/>
    <p:sldId id="836" r:id="rId80"/>
    <p:sldId id="835" r:id="rId81"/>
    <p:sldId id="834" r:id="rId82"/>
    <p:sldId id="833" r:id="rId83"/>
    <p:sldId id="832" r:id="rId84"/>
    <p:sldId id="831" r:id="rId85"/>
    <p:sldId id="863" r:id="rId86"/>
    <p:sldId id="862" r:id="rId87"/>
    <p:sldId id="859" r:id="rId88"/>
    <p:sldId id="860" r:id="rId89"/>
    <p:sldId id="861" r:id="rId90"/>
    <p:sldId id="857" r:id="rId91"/>
    <p:sldId id="289" r:id="rId92"/>
    <p:sldId id="844" r:id="rId93"/>
    <p:sldId id="843" r:id="rId94"/>
    <p:sldId id="842" r:id="rId95"/>
    <p:sldId id="841" r:id="rId96"/>
    <p:sldId id="840" r:id="rId97"/>
    <p:sldId id="856" r:id="rId98"/>
    <p:sldId id="855" r:id="rId99"/>
    <p:sldId id="854" r:id="rId100"/>
    <p:sldId id="853" r:id="rId101"/>
    <p:sldId id="852" r:id="rId102"/>
    <p:sldId id="851" r:id="rId103"/>
    <p:sldId id="850" r:id="rId104"/>
    <p:sldId id="849" r:id="rId105"/>
    <p:sldId id="848" r:id="rId106"/>
    <p:sldId id="847" r:id="rId107"/>
    <p:sldId id="846" r:id="rId108"/>
    <p:sldId id="845" r:id="rId109"/>
    <p:sldId id="806" r:id="rId110"/>
    <p:sldId id="294" r:id="rId111"/>
    <p:sldId id="295" r:id="rId112"/>
    <p:sldId id="297" r:id="rId1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F8223C-610E-2BBA-F33B-0E1F55F6BB33}" name="Patricia Ann Lee King" initials="PK" userId="S::pal094@ads.northwestern.edu::dbab7ec2-5444-4d21-afe7-a39974533ddc" providerId="AD"/>
  <p188:author id="{0B48CC40-4357-5959-C41E-8F630855A478}" name="Aleena Lida Surenian" initials="AS" userId="S::als0813@ads.northwestern.edu::e2fd0e4e-6417-49b0-ab16-0ba26a1719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sorterViewPr>
    <p:cViewPr>
      <p:scale>
        <a:sx n="100" d="100"/>
        <a:sy n="100" d="100"/>
      </p:scale>
      <p:origin x="0" y="-1264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117" Type="http://schemas.openxmlformats.org/officeDocument/2006/relationships/theme" Target="theme/theme1.xml"/><Relationship Id="rId21" Type="http://schemas.openxmlformats.org/officeDocument/2006/relationships/slideMaster" Target="slideMasters/slideMaster21.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112" Type="http://schemas.openxmlformats.org/officeDocument/2006/relationships/slide" Target="slides/slide88.xml"/><Relationship Id="rId16" Type="http://schemas.openxmlformats.org/officeDocument/2006/relationships/slideMaster" Target="slideMasters/slideMaster16.xml"/><Relationship Id="rId107" Type="http://schemas.openxmlformats.org/officeDocument/2006/relationships/slide" Target="slides/slide83.xml"/><Relationship Id="rId11" Type="http://schemas.openxmlformats.org/officeDocument/2006/relationships/slideMaster" Target="slideMasters/slideMaster11.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5" Type="http://schemas.openxmlformats.org/officeDocument/2006/relationships/slideMaster" Target="slideMasters/slideMaster5.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slideMaster" Target="slideMasters/slideMaster22.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slide" Target="slides/slide89.xml"/><Relationship Id="rId118" Type="http://schemas.openxmlformats.org/officeDocument/2006/relationships/tableStyles" Target="tableStyles.xml"/><Relationship Id="rId80" Type="http://schemas.openxmlformats.org/officeDocument/2006/relationships/slide" Target="slides/slide56.xml"/><Relationship Id="rId85" Type="http://schemas.openxmlformats.org/officeDocument/2006/relationships/slide" Target="slides/slide61.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slide" Target="slides/slide84.xml"/><Relationship Id="rId54" Type="http://schemas.openxmlformats.org/officeDocument/2006/relationships/slide" Target="slides/slide30.xml"/><Relationship Id="rId70" Type="http://schemas.openxmlformats.org/officeDocument/2006/relationships/slide" Target="slides/slide46.xml"/><Relationship Id="rId75" Type="http://schemas.openxmlformats.org/officeDocument/2006/relationships/slide" Target="slides/slide51.xml"/><Relationship Id="rId91" Type="http://schemas.openxmlformats.org/officeDocument/2006/relationships/slide" Target="slides/slide67.xml"/><Relationship Id="rId96" Type="http://schemas.openxmlformats.org/officeDocument/2006/relationships/slide" Target="slides/slide72.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 Target="slides/slide4.xml"/><Relationship Id="rId49" Type="http://schemas.openxmlformats.org/officeDocument/2006/relationships/slide" Target="slides/slide25.xml"/><Relationship Id="rId114" Type="http://schemas.openxmlformats.org/officeDocument/2006/relationships/notesMaster" Target="notesMasters/notesMaster1.xml"/><Relationship Id="rId119" Type="http://schemas.microsoft.com/office/2018/10/relationships/authors" Target="authors.xml"/><Relationship Id="rId10" Type="http://schemas.openxmlformats.org/officeDocument/2006/relationships/slideMaster" Target="slideMasters/slideMaster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7" Type="http://schemas.openxmlformats.org/officeDocument/2006/relationships/slideMaster" Target="slideMasters/slideMaster7.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5.xml"/><Relationship Id="rId24" Type="http://schemas.openxmlformats.org/officeDocument/2006/relationships/slideMaster" Target="slideMasters/slideMaster24.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presProps" Target="presProps.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8" Type="http://schemas.openxmlformats.org/officeDocument/2006/relationships/slideMaster" Target="slideMasters/slideMaster8.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3" Type="http://schemas.openxmlformats.org/officeDocument/2006/relationships/slideMaster" Target="slideMasters/slideMaster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17.xml"/><Relationship Id="rId62" Type="http://schemas.openxmlformats.org/officeDocument/2006/relationships/slide" Target="slides/slide38.xml"/><Relationship Id="rId83" Type="http://schemas.openxmlformats.org/officeDocument/2006/relationships/slide" Target="slides/slide59.xml"/><Relationship Id="rId88" Type="http://schemas.openxmlformats.org/officeDocument/2006/relationships/slide" Target="slides/slide64.xml"/><Relationship Id="rId111" Type="http://schemas.openxmlformats.org/officeDocument/2006/relationships/slide" Target="slides/slide87.xml"/><Relationship Id="rId15" Type="http://schemas.openxmlformats.org/officeDocument/2006/relationships/slideMaster" Target="slideMasters/slideMaster15.xml"/><Relationship Id="rId36" Type="http://schemas.openxmlformats.org/officeDocument/2006/relationships/slide" Target="slides/slide12.xml"/><Relationship Id="rId57" Type="http://schemas.openxmlformats.org/officeDocument/2006/relationships/slide" Target="slides/slide33.xml"/><Relationship Id="rId106" Type="http://schemas.openxmlformats.org/officeDocument/2006/relationships/slide" Target="slides/slide82.xml"/></Relationships>
</file>

<file path=ppt/charts/_rels/chart1.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a:effectLst/>
              </a:rPr>
              <a:t>Percent of hospitals that have </a:t>
            </a:r>
            <a:r>
              <a:rPr lang="en-US" sz="1400" b="1" i="0" u="sng" strike="noStrike" baseline="0">
                <a:effectLst/>
              </a:rPr>
              <a:t>implemented standardized social determinants of health screening tools for screening </a:t>
            </a:r>
            <a:r>
              <a:rPr lang="en-US" sz="1400" b="0" i="0" u="none" strike="noStrike" baseline="0">
                <a:effectLst/>
              </a:rPr>
              <a:t>all pregnant women during delivery admission</a:t>
            </a:r>
            <a:endParaRPr lang="en-US" b="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xlsx]Q1'!$A$2</c:f>
              <c:strCache>
                <c:ptCount val="1"/>
                <c:pt idx="0">
                  <c:v>In Place</c:v>
                </c:pt>
              </c:strCache>
            </c:strRef>
          </c:tx>
          <c:spPr>
            <a:solidFill>
              <a:srgbClr val="92D050"/>
            </a:solidFill>
            <a:ln>
              <a:noFill/>
            </a:ln>
            <a:effectLst/>
          </c:spPr>
          <c:invertIfNegative val="0"/>
          <c:cat>
            <c:strRef>
              <c:f>'[BE Hospital Structure Measures Data.xlsx]Q1'!$B$1:$U$1</c:f>
              <c:strCache>
                <c:ptCount val="20"/>
                <c:pt idx="0">
                  <c:v>Baseline Q4 2020</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1'!$B$2:$U$2</c:f>
              <c:numCache>
                <c:formatCode>General</c:formatCode>
                <c:ptCount val="20"/>
                <c:pt idx="0">
                  <c:v>16.75</c:v>
                </c:pt>
                <c:pt idx="1">
                  <c:v>20</c:v>
                </c:pt>
                <c:pt idx="2">
                  <c:v>19.670000000000002</c:v>
                </c:pt>
                <c:pt idx="3">
                  <c:v>20.309999999999999</c:v>
                </c:pt>
                <c:pt idx="4">
                  <c:v>20.34</c:v>
                </c:pt>
                <c:pt idx="5">
                  <c:v>26.23</c:v>
                </c:pt>
                <c:pt idx="6">
                  <c:v>33.33</c:v>
                </c:pt>
                <c:pt idx="7">
                  <c:v>34.33</c:v>
                </c:pt>
                <c:pt idx="8">
                  <c:v>37.880000000000003</c:v>
                </c:pt>
                <c:pt idx="9">
                  <c:v>41.27</c:v>
                </c:pt>
                <c:pt idx="10">
                  <c:v>46.88</c:v>
                </c:pt>
                <c:pt idx="11">
                  <c:v>48.44</c:v>
                </c:pt>
                <c:pt idx="12">
                  <c:v>56.72</c:v>
                </c:pt>
                <c:pt idx="13">
                  <c:v>56.25</c:v>
                </c:pt>
                <c:pt idx="14">
                  <c:v>59.32</c:v>
                </c:pt>
                <c:pt idx="15">
                  <c:v>58.18</c:v>
                </c:pt>
                <c:pt idx="16">
                  <c:v>67.86</c:v>
                </c:pt>
                <c:pt idx="17">
                  <c:v>70.37</c:v>
                </c:pt>
                <c:pt idx="18">
                  <c:v>82.54</c:v>
                </c:pt>
                <c:pt idx="19">
                  <c:v>88.24</c:v>
                </c:pt>
              </c:numCache>
            </c:numRef>
          </c:val>
          <c:extLst>
            <c:ext xmlns:c16="http://schemas.microsoft.com/office/drawing/2014/chart" uri="{C3380CC4-5D6E-409C-BE32-E72D297353CC}">
              <c16:uniqueId val="{00000000-65A9-426C-8D78-E70530057DE5}"/>
            </c:ext>
          </c:extLst>
        </c:ser>
        <c:ser>
          <c:idx val="1"/>
          <c:order val="1"/>
          <c:tx>
            <c:strRef>
              <c:f>'[BE Hospital Structure Measures Data.xlsx]Q1'!$A$3</c:f>
              <c:strCache>
                <c:ptCount val="1"/>
                <c:pt idx="0">
                  <c:v>Working On It</c:v>
                </c:pt>
              </c:strCache>
            </c:strRef>
          </c:tx>
          <c:spPr>
            <a:solidFill>
              <a:srgbClr val="FFC000"/>
            </a:solidFill>
            <a:ln>
              <a:noFill/>
            </a:ln>
            <a:effectLst/>
          </c:spPr>
          <c:invertIfNegative val="0"/>
          <c:cat>
            <c:strRef>
              <c:f>'[BE Hospital Structure Measures Data.xlsx]Q1'!$B$1:$U$1</c:f>
              <c:strCache>
                <c:ptCount val="20"/>
                <c:pt idx="0">
                  <c:v>Baseline Q4 2020</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1'!$B$3:$U$3</c:f>
              <c:numCache>
                <c:formatCode>General</c:formatCode>
                <c:ptCount val="20"/>
                <c:pt idx="0">
                  <c:v>19.46</c:v>
                </c:pt>
                <c:pt idx="1">
                  <c:v>36.92</c:v>
                </c:pt>
                <c:pt idx="2">
                  <c:v>45.9</c:v>
                </c:pt>
                <c:pt idx="3">
                  <c:v>54.69</c:v>
                </c:pt>
                <c:pt idx="4">
                  <c:v>61.02</c:v>
                </c:pt>
                <c:pt idx="5">
                  <c:v>55.74</c:v>
                </c:pt>
                <c:pt idx="6">
                  <c:v>51.52</c:v>
                </c:pt>
                <c:pt idx="7">
                  <c:v>53.73</c:v>
                </c:pt>
                <c:pt idx="8">
                  <c:v>54.55</c:v>
                </c:pt>
                <c:pt idx="9">
                  <c:v>55.56</c:v>
                </c:pt>
                <c:pt idx="10">
                  <c:v>51.56</c:v>
                </c:pt>
                <c:pt idx="11">
                  <c:v>50</c:v>
                </c:pt>
                <c:pt idx="12">
                  <c:v>40.299999999999997</c:v>
                </c:pt>
                <c:pt idx="13">
                  <c:v>42.19</c:v>
                </c:pt>
                <c:pt idx="14">
                  <c:v>38.979999999999997</c:v>
                </c:pt>
                <c:pt idx="15">
                  <c:v>41.82</c:v>
                </c:pt>
                <c:pt idx="16">
                  <c:v>32.14</c:v>
                </c:pt>
                <c:pt idx="17">
                  <c:v>29.63</c:v>
                </c:pt>
                <c:pt idx="18">
                  <c:v>17.46</c:v>
                </c:pt>
                <c:pt idx="19">
                  <c:v>11.76</c:v>
                </c:pt>
              </c:numCache>
            </c:numRef>
          </c:val>
          <c:extLst>
            <c:ext xmlns:c16="http://schemas.microsoft.com/office/drawing/2014/chart" uri="{C3380CC4-5D6E-409C-BE32-E72D297353CC}">
              <c16:uniqueId val="{00000001-65A9-426C-8D78-E70530057DE5}"/>
            </c:ext>
          </c:extLst>
        </c:ser>
        <c:ser>
          <c:idx val="2"/>
          <c:order val="2"/>
          <c:tx>
            <c:strRef>
              <c:f>'[BE Hospital Structure Measures Data.xlsx]Q1'!$A$4</c:f>
              <c:strCache>
                <c:ptCount val="1"/>
                <c:pt idx="0">
                  <c:v>Have Not Started</c:v>
                </c:pt>
              </c:strCache>
            </c:strRef>
          </c:tx>
          <c:spPr>
            <a:solidFill>
              <a:srgbClr val="FF0000"/>
            </a:solidFill>
            <a:ln>
              <a:noFill/>
            </a:ln>
            <a:effectLst/>
          </c:spPr>
          <c:invertIfNegative val="0"/>
          <c:cat>
            <c:strRef>
              <c:f>'[BE Hospital Structure Measures Data.xlsx]Q1'!$B$1:$U$1</c:f>
              <c:strCache>
                <c:ptCount val="20"/>
                <c:pt idx="0">
                  <c:v>Baseline Q4 2020</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1'!$B$4:$U$4</c:f>
              <c:numCache>
                <c:formatCode>General</c:formatCode>
                <c:ptCount val="20"/>
                <c:pt idx="0">
                  <c:v>63.78</c:v>
                </c:pt>
                <c:pt idx="1">
                  <c:v>43.08</c:v>
                </c:pt>
                <c:pt idx="2">
                  <c:v>34.43</c:v>
                </c:pt>
                <c:pt idx="3">
                  <c:v>25</c:v>
                </c:pt>
                <c:pt idx="4">
                  <c:v>18.64</c:v>
                </c:pt>
                <c:pt idx="5">
                  <c:v>18.03</c:v>
                </c:pt>
                <c:pt idx="6">
                  <c:v>15.15</c:v>
                </c:pt>
                <c:pt idx="7">
                  <c:v>11.94</c:v>
                </c:pt>
                <c:pt idx="8">
                  <c:v>7.58</c:v>
                </c:pt>
                <c:pt idx="9">
                  <c:v>3.17</c:v>
                </c:pt>
                <c:pt idx="10">
                  <c:v>1.56</c:v>
                </c:pt>
                <c:pt idx="11">
                  <c:v>1.56</c:v>
                </c:pt>
                <c:pt idx="12">
                  <c:v>2.99</c:v>
                </c:pt>
                <c:pt idx="13">
                  <c:v>1.56</c:v>
                </c:pt>
                <c:pt idx="14">
                  <c:v>1.69</c:v>
                </c:pt>
                <c:pt idx="15">
                  <c:v>0</c:v>
                </c:pt>
                <c:pt idx="16">
                  <c:v>0</c:v>
                </c:pt>
                <c:pt idx="17">
                  <c:v>0</c:v>
                </c:pt>
                <c:pt idx="18">
                  <c:v>0</c:v>
                </c:pt>
                <c:pt idx="19">
                  <c:v>0</c:v>
                </c:pt>
              </c:numCache>
            </c:numRef>
          </c:val>
          <c:extLst>
            <c:ext xmlns:c16="http://schemas.microsoft.com/office/drawing/2014/chart" uri="{C3380CC4-5D6E-409C-BE32-E72D297353CC}">
              <c16:uniqueId val="{00000002-65A9-426C-8D78-E70530057DE5}"/>
            </c:ext>
          </c:extLst>
        </c:ser>
        <c:dLbls>
          <c:showLegendKey val="0"/>
          <c:showVal val="0"/>
          <c:showCatName val="0"/>
          <c:showSerName val="0"/>
          <c:showPercent val="0"/>
          <c:showBubbleSize val="0"/>
        </c:dLbls>
        <c:gapWidth val="150"/>
        <c:overlap val="100"/>
        <c:axId val="1793231103"/>
        <c:axId val="1793240671"/>
      </c:barChart>
      <c:catAx>
        <c:axId val="17932311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3240671"/>
        <c:crosses val="autoZero"/>
        <c:auto val="1"/>
        <c:lblAlgn val="ctr"/>
        <c:lblOffset val="100"/>
        <c:noMultiLvlLbl val="0"/>
      </c:catAx>
      <c:valAx>
        <c:axId val="179324067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32311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u="none" strike="noStrike" baseline="0">
                <a:effectLst/>
              </a:rPr>
              <a:t>Percent of hospitals that have completed </a:t>
            </a:r>
            <a:r>
              <a:rPr lang="en-US" sz="1200" b="1" i="0" u="sng" strike="noStrike" baseline="0">
                <a:effectLst/>
              </a:rPr>
              <a:t>ILPQC social determinants of health community resources mapping tool </a:t>
            </a:r>
            <a:r>
              <a:rPr lang="en-US" sz="1200" b="0" i="0" u="none" strike="noStrike" baseline="0">
                <a:effectLst/>
              </a:rPr>
              <a:t>and shared with affiliated outpatient prenatal care sites and hospital OB units</a:t>
            </a:r>
            <a:endParaRPr lang="en-US" sz="1200" b="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xlsx]Q3'!$A$2</c:f>
              <c:strCache>
                <c:ptCount val="1"/>
                <c:pt idx="0">
                  <c:v>In Place</c:v>
                </c:pt>
              </c:strCache>
            </c:strRef>
          </c:tx>
          <c:spPr>
            <a:solidFill>
              <a:srgbClr val="92D050"/>
            </a:solidFill>
            <a:ln>
              <a:noFill/>
            </a:ln>
            <a:effectLst/>
          </c:spPr>
          <c:invertIfNegative val="0"/>
          <c:cat>
            <c:strRef>
              <c:f>'[BE Hospital Structure Measures Data.xlsx]Q3'!$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3'!$B$2:$U$2</c:f>
              <c:numCache>
                <c:formatCode>General</c:formatCode>
                <c:ptCount val="20"/>
                <c:pt idx="0">
                  <c:v>3.25</c:v>
                </c:pt>
                <c:pt idx="1">
                  <c:v>1.54</c:v>
                </c:pt>
                <c:pt idx="2">
                  <c:v>8.1999999999999993</c:v>
                </c:pt>
                <c:pt idx="3">
                  <c:v>4.6900000000000004</c:v>
                </c:pt>
                <c:pt idx="4">
                  <c:v>6.78</c:v>
                </c:pt>
                <c:pt idx="5">
                  <c:v>13.11</c:v>
                </c:pt>
                <c:pt idx="6">
                  <c:v>18.18</c:v>
                </c:pt>
                <c:pt idx="7">
                  <c:v>19.399999999999999</c:v>
                </c:pt>
                <c:pt idx="8">
                  <c:v>24.24</c:v>
                </c:pt>
                <c:pt idx="9">
                  <c:v>25.4</c:v>
                </c:pt>
                <c:pt idx="10">
                  <c:v>31.25</c:v>
                </c:pt>
                <c:pt idx="11">
                  <c:v>37.5</c:v>
                </c:pt>
                <c:pt idx="12">
                  <c:v>46.97</c:v>
                </c:pt>
                <c:pt idx="13">
                  <c:v>49.21</c:v>
                </c:pt>
                <c:pt idx="14">
                  <c:v>56.9</c:v>
                </c:pt>
                <c:pt idx="15">
                  <c:v>58.18</c:v>
                </c:pt>
                <c:pt idx="16">
                  <c:v>54.55</c:v>
                </c:pt>
                <c:pt idx="17">
                  <c:v>51.85</c:v>
                </c:pt>
                <c:pt idx="18">
                  <c:v>50</c:v>
                </c:pt>
                <c:pt idx="19">
                  <c:v>54.9</c:v>
                </c:pt>
              </c:numCache>
            </c:numRef>
          </c:val>
          <c:extLst>
            <c:ext xmlns:c16="http://schemas.microsoft.com/office/drawing/2014/chart" uri="{C3380CC4-5D6E-409C-BE32-E72D297353CC}">
              <c16:uniqueId val="{00000000-E27C-4EE4-A0F1-DF03867157E9}"/>
            </c:ext>
          </c:extLst>
        </c:ser>
        <c:ser>
          <c:idx val="1"/>
          <c:order val="1"/>
          <c:tx>
            <c:strRef>
              <c:f>'[BE Hospital Structure Measures Data.xlsx]Q3'!$A$3</c:f>
              <c:strCache>
                <c:ptCount val="1"/>
                <c:pt idx="0">
                  <c:v>Working On It</c:v>
                </c:pt>
              </c:strCache>
            </c:strRef>
          </c:tx>
          <c:spPr>
            <a:solidFill>
              <a:srgbClr val="FFC000"/>
            </a:solidFill>
            <a:ln>
              <a:noFill/>
            </a:ln>
            <a:effectLst/>
          </c:spPr>
          <c:invertIfNegative val="0"/>
          <c:cat>
            <c:strRef>
              <c:f>'[BE Hospital Structure Measures Data.xlsx]Q3'!$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3'!$B$3:$U$3</c:f>
              <c:numCache>
                <c:formatCode>General</c:formatCode>
                <c:ptCount val="20"/>
                <c:pt idx="0">
                  <c:v>23.79</c:v>
                </c:pt>
                <c:pt idx="1">
                  <c:v>40</c:v>
                </c:pt>
                <c:pt idx="2">
                  <c:v>40.98</c:v>
                </c:pt>
                <c:pt idx="3">
                  <c:v>54.69</c:v>
                </c:pt>
                <c:pt idx="4">
                  <c:v>54.24</c:v>
                </c:pt>
                <c:pt idx="5">
                  <c:v>52.46</c:v>
                </c:pt>
                <c:pt idx="6">
                  <c:v>53.03</c:v>
                </c:pt>
                <c:pt idx="7">
                  <c:v>53.73</c:v>
                </c:pt>
                <c:pt idx="8">
                  <c:v>54.55</c:v>
                </c:pt>
                <c:pt idx="9">
                  <c:v>58.73</c:v>
                </c:pt>
                <c:pt idx="10">
                  <c:v>60.94</c:v>
                </c:pt>
                <c:pt idx="11">
                  <c:v>53.12</c:v>
                </c:pt>
                <c:pt idx="12">
                  <c:v>43.94</c:v>
                </c:pt>
                <c:pt idx="13">
                  <c:v>41.27</c:v>
                </c:pt>
                <c:pt idx="14">
                  <c:v>34.479999999999997</c:v>
                </c:pt>
                <c:pt idx="15">
                  <c:v>34.549999999999997</c:v>
                </c:pt>
                <c:pt idx="16">
                  <c:v>34.549999999999997</c:v>
                </c:pt>
                <c:pt idx="17">
                  <c:v>40.74</c:v>
                </c:pt>
                <c:pt idx="18">
                  <c:v>45.16</c:v>
                </c:pt>
                <c:pt idx="19">
                  <c:v>41.18</c:v>
                </c:pt>
              </c:numCache>
            </c:numRef>
          </c:val>
          <c:extLst>
            <c:ext xmlns:c16="http://schemas.microsoft.com/office/drawing/2014/chart" uri="{C3380CC4-5D6E-409C-BE32-E72D297353CC}">
              <c16:uniqueId val="{00000001-E27C-4EE4-A0F1-DF03867157E9}"/>
            </c:ext>
          </c:extLst>
        </c:ser>
        <c:ser>
          <c:idx val="2"/>
          <c:order val="2"/>
          <c:tx>
            <c:strRef>
              <c:f>'[BE Hospital Structure Measures Data.xlsx]Q3'!$A$4</c:f>
              <c:strCache>
                <c:ptCount val="1"/>
                <c:pt idx="0">
                  <c:v>Have Not Started</c:v>
                </c:pt>
              </c:strCache>
            </c:strRef>
          </c:tx>
          <c:spPr>
            <a:solidFill>
              <a:srgbClr val="FF0000"/>
            </a:solidFill>
            <a:ln>
              <a:noFill/>
            </a:ln>
            <a:effectLst/>
          </c:spPr>
          <c:invertIfNegative val="0"/>
          <c:cat>
            <c:strRef>
              <c:f>'[BE Hospital Structure Measures Data.xlsx]Q3'!$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3'!$B$4:$U$4</c:f>
              <c:numCache>
                <c:formatCode>General</c:formatCode>
                <c:ptCount val="20"/>
                <c:pt idx="0">
                  <c:v>72.97</c:v>
                </c:pt>
                <c:pt idx="1">
                  <c:v>58.46</c:v>
                </c:pt>
                <c:pt idx="2">
                  <c:v>50.82</c:v>
                </c:pt>
                <c:pt idx="3">
                  <c:v>40.619999999999997</c:v>
                </c:pt>
                <c:pt idx="4">
                  <c:v>38.979999999999997</c:v>
                </c:pt>
                <c:pt idx="5">
                  <c:v>34.43</c:v>
                </c:pt>
                <c:pt idx="6">
                  <c:v>28.79</c:v>
                </c:pt>
                <c:pt idx="7">
                  <c:v>26.87</c:v>
                </c:pt>
                <c:pt idx="8">
                  <c:v>21.21</c:v>
                </c:pt>
                <c:pt idx="9">
                  <c:v>15.87</c:v>
                </c:pt>
                <c:pt idx="10">
                  <c:v>7.81</c:v>
                </c:pt>
                <c:pt idx="11">
                  <c:v>9.3800000000000008</c:v>
                </c:pt>
                <c:pt idx="12">
                  <c:v>9.09</c:v>
                </c:pt>
                <c:pt idx="13">
                  <c:v>9.52</c:v>
                </c:pt>
                <c:pt idx="14">
                  <c:v>8.6199999999999992</c:v>
                </c:pt>
                <c:pt idx="15">
                  <c:v>7.27</c:v>
                </c:pt>
                <c:pt idx="16">
                  <c:v>10.91</c:v>
                </c:pt>
                <c:pt idx="17">
                  <c:v>7.41</c:v>
                </c:pt>
                <c:pt idx="18">
                  <c:v>4.84</c:v>
                </c:pt>
                <c:pt idx="19">
                  <c:v>3.92</c:v>
                </c:pt>
              </c:numCache>
            </c:numRef>
          </c:val>
          <c:extLst>
            <c:ext xmlns:c16="http://schemas.microsoft.com/office/drawing/2014/chart" uri="{C3380CC4-5D6E-409C-BE32-E72D297353CC}">
              <c16:uniqueId val="{00000002-E27C-4EE4-A0F1-DF03867157E9}"/>
            </c:ext>
          </c:extLst>
        </c:ser>
        <c:dLbls>
          <c:showLegendKey val="0"/>
          <c:showVal val="0"/>
          <c:showCatName val="0"/>
          <c:showSerName val="0"/>
          <c:showPercent val="0"/>
          <c:showBubbleSize val="0"/>
        </c:dLbls>
        <c:gapWidth val="150"/>
        <c:overlap val="100"/>
        <c:axId val="1699040831"/>
        <c:axId val="1699034175"/>
      </c:barChart>
      <c:catAx>
        <c:axId val="1699040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99034175"/>
        <c:crosses val="autoZero"/>
        <c:auto val="1"/>
        <c:lblAlgn val="ctr"/>
        <c:lblOffset val="100"/>
        <c:noMultiLvlLbl val="1"/>
      </c:catAx>
      <c:valAx>
        <c:axId val="1699034175"/>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9904083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a:t>Percent of hospitals that</a:t>
            </a:r>
            <a:r>
              <a:rPr lang="en-US" sz="1200" baseline="0"/>
              <a:t> have developed a process to </a:t>
            </a:r>
            <a:r>
              <a:rPr lang="en-US" sz="1200" b="1" u="sng" baseline="0"/>
              <a:t>review maternal health quality data stratified by race/ethnicity and Medicaid statu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xlsx]Q6'!$A$2</c:f>
              <c:strCache>
                <c:ptCount val="1"/>
                <c:pt idx="0">
                  <c:v>In Place</c:v>
                </c:pt>
              </c:strCache>
            </c:strRef>
          </c:tx>
          <c:spPr>
            <a:solidFill>
              <a:srgbClr val="92D050"/>
            </a:solidFill>
            <a:ln>
              <a:noFill/>
            </a:ln>
            <a:effectLst/>
          </c:spPr>
          <c:invertIfNegative val="0"/>
          <c:cat>
            <c:strRef>
              <c:f>'[BE Hospital Structure Measures Data.xlsx]Q6'!$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6'!$B$2:$U$2</c:f>
              <c:numCache>
                <c:formatCode>General</c:formatCode>
                <c:ptCount val="20"/>
                <c:pt idx="0">
                  <c:v>6.49</c:v>
                </c:pt>
                <c:pt idx="1">
                  <c:v>12.31</c:v>
                </c:pt>
                <c:pt idx="2">
                  <c:v>16.39</c:v>
                </c:pt>
                <c:pt idx="3">
                  <c:v>21.88</c:v>
                </c:pt>
                <c:pt idx="4">
                  <c:v>27.12</c:v>
                </c:pt>
                <c:pt idx="5">
                  <c:v>24.59</c:v>
                </c:pt>
                <c:pt idx="6">
                  <c:v>33.33</c:v>
                </c:pt>
                <c:pt idx="7">
                  <c:v>38.81</c:v>
                </c:pt>
                <c:pt idx="8">
                  <c:v>40.909999999999997</c:v>
                </c:pt>
                <c:pt idx="9">
                  <c:v>50.79</c:v>
                </c:pt>
                <c:pt idx="10">
                  <c:v>53.12</c:v>
                </c:pt>
                <c:pt idx="11">
                  <c:v>57.81</c:v>
                </c:pt>
                <c:pt idx="12">
                  <c:v>57.58</c:v>
                </c:pt>
                <c:pt idx="13">
                  <c:v>61.9</c:v>
                </c:pt>
                <c:pt idx="14">
                  <c:v>51.72</c:v>
                </c:pt>
                <c:pt idx="15">
                  <c:v>63.64</c:v>
                </c:pt>
                <c:pt idx="16">
                  <c:v>65.45</c:v>
                </c:pt>
                <c:pt idx="17">
                  <c:v>59.26</c:v>
                </c:pt>
                <c:pt idx="18">
                  <c:v>69.349999999999994</c:v>
                </c:pt>
                <c:pt idx="19">
                  <c:v>66.67</c:v>
                </c:pt>
              </c:numCache>
            </c:numRef>
          </c:val>
          <c:extLst>
            <c:ext xmlns:c16="http://schemas.microsoft.com/office/drawing/2014/chart" uri="{C3380CC4-5D6E-409C-BE32-E72D297353CC}">
              <c16:uniqueId val="{00000000-6930-4CF3-9791-88BFCF72398E}"/>
            </c:ext>
          </c:extLst>
        </c:ser>
        <c:ser>
          <c:idx val="1"/>
          <c:order val="1"/>
          <c:tx>
            <c:strRef>
              <c:f>'[BE Hospital Structure Measures Data.xlsx]Q6'!$A$3</c:f>
              <c:strCache>
                <c:ptCount val="1"/>
                <c:pt idx="0">
                  <c:v>Working On It</c:v>
                </c:pt>
              </c:strCache>
            </c:strRef>
          </c:tx>
          <c:spPr>
            <a:solidFill>
              <a:srgbClr val="FFC000"/>
            </a:solidFill>
            <a:ln>
              <a:noFill/>
            </a:ln>
            <a:effectLst/>
          </c:spPr>
          <c:invertIfNegative val="0"/>
          <c:cat>
            <c:strRef>
              <c:f>'[BE Hospital Structure Measures Data.xlsx]Q6'!$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6'!$B$3:$U$3</c:f>
              <c:numCache>
                <c:formatCode>General</c:formatCode>
                <c:ptCount val="20"/>
                <c:pt idx="0">
                  <c:v>27.57</c:v>
                </c:pt>
                <c:pt idx="1">
                  <c:v>47.69</c:v>
                </c:pt>
                <c:pt idx="2">
                  <c:v>45.9</c:v>
                </c:pt>
                <c:pt idx="3">
                  <c:v>45.31</c:v>
                </c:pt>
                <c:pt idx="4">
                  <c:v>50.85</c:v>
                </c:pt>
                <c:pt idx="5">
                  <c:v>47.54</c:v>
                </c:pt>
                <c:pt idx="6">
                  <c:v>43.94</c:v>
                </c:pt>
                <c:pt idx="7">
                  <c:v>44.78</c:v>
                </c:pt>
                <c:pt idx="8">
                  <c:v>45.45</c:v>
                </c:pt>
                <c:pt idx="9">
                  <c:v>44.44</c:v>
                </c:pt>
                <c:pt idx="10">
                  <c:v>42.19</c:v>
                </c:pt>
                <c:pt idx="11">
                  <c:v>35.94</c:v>
                </c:pt>
                <c:pt idx="12">
                  <c:v>37.880000000000003</c:v>
                </c:pt>
                <c:pt idx="13">
                  <c:v>34.92</c:v>
                </c:pt>
                <c:pt idx="14">
                  <c:v>43.1</c:v>
                </c:pt>
                <c:pt idx="15">
                  <c:v>32.729999999999997</c:v>
                </c:pt>
                <c:pt idx="16">
                  <c:v>30.91</c:v>
                </c:pt>
                <c:pt idx="17">
                  <c:v>33.33</c:v>
                </c:pt>
                <c:pt idx="18">
                  <c:v>27.42</c:v>
                </c:pt>
                <c:pt idx="19">
                  <c:v>31.37</c:v>
                </c:pt>
              </c:numCache>
            </c:numRef>
          </c:val>
          <c:extLst>
            <c:ext xmlns:c16="http://schemas.microsoft.com/office/drawing/2014/chart" uri="{C3380CC4-5D6E-409C-BE32-E72D297353CC}">
              <c16:uniqueId val="{00000001-6930-4CF3-9791-88BFCF72398E}"/>
            </c:ext>
          </c:extLst>
        </c:ser>
        <c:ser>
          <c:idx val="2"/>
          <c:order val="2"/>
          <c:tx>
            <c:strRef>
              <c:f>'[BE Hospital Structure Measures Data.xlsx]Q6'!$A$4</c:f>
              <c:strCache>
                <c:ptCount val="1"/>
                <c:pt idx="0">
                  <c:v>Have Not Started</c:v>
                </c:pt>
              </c:strCache>
            </c:strRef>
          </c:tx>
          <c:spPr>
            <a:solidFill>
              <a:srgbClr val="FF0000"/>
            </a:solidFill>
            <a:ln>
              <a:noFill/>
            </a:ln>
            <a:effectLst/>
          </c:spPr>
          <c:invertIfNegative val="0"/>
          <c:cat>
            <c:strRef>
              <c:f>'[BE Hospital Structure Measures Data.xlsx]Q6'!$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6'!$B$4:$U$4</c:f>
              <c:numCache>
                <c:formatCode>General</c:formatCode>
                <c:ptCount val="20"/>
                <c:pt idx="0">
                  <c:v>65.94</c:v>
                </c:pt>
                <c:pt idx="1">
                  <c:v>40</c:v>
                </c:pt>
                <c:pt idx="2">
                  <c:v>37.700000000000003</c:v>
                </c:pt>
                <c:pt idx="3">
                  <c:v>32.81</c:v>
                </c:pt>
                <c:pt idx="4">
                  <c:v>22.03</c:v>
                </c:pt>
                <c:pt idx="5">
                  <c:v>27.87</c:v>
                </c:pt>
                <c:pt idx="6">
                  <c:v>22.73</c:v>
                </c:pt>
                <c:pt idx="7">
                  <c:v>16.420000000000002</c:v>
                </c:pt>
                <c:pt idx="8">
                  <c:v>13.64</c:v>
                </c:pt>
                <c:pt idx="9">
                  <c:v>4.76</c:v>
                </c:pt>
                <c:pt idx="10">
                  <c:v>4.6900000000000004</c:v>
                </c:pt>
                <c:pt idx="11">
                  <c:v>6.25</c:v>
                </c:pt>
                <c:pt idx="12">
                  <c:v>4.55</c:v>
                </c:pt>
                <c:pt idx="13">
                  <c:v>3.17</c:v>
                </c:pt>
                <c:pt idx="14">
                  <c:v>5.17</c:v>
                </c:pt>
                <c:pt idx="15">
                  <c:v>3.64</c:v>
                </c:pt>
                <c:pt idx="16">
                  <c:v>3.64</c:v>
                </c:pt>
                <c:pt idx="17">
                  <c:v>7.41</c:v>
                </c:pt>
                <c:pt idx="18">
                  <c:v>3.23</c:v>
                </c:pt>
                <c:pt idx="19">
                  <c:v>1.96</c:v>
                </c:pt>
              </c:numCache>
            </c:numRef>
          </c:val>
          <c:extLst>
            <c:ext xmlns:c16="http://schemas.microsoft.com/office/drawing/2014/chart" uri="{C3380CC4-5D6E-409C-BE32-E72D297353CC}">
              <c16:uniqueId val="{00000002-6930-4CF3-9791-88BFCF72398E}"/>
            </c:ext>
          </c:extLst>
        </c:ser>
        <c:dLbls>
          <c:showLegendKey val="0"/>
          <c:showVal val="0"/>
          <c:showCatName val="0"/>
          <c:showSerName val="0"/>
          <c:showPercent val="0"/>
          <c:showBubbleSize val="0"/>
        </c:dLbls>
        <c:gapWidth val="150"/>
        <c:overlap val="100"/>
        <c:axId val="1701053023"/>
        <c:axId val="1701053855"/>
      </c:barChart>
      <c:catAx>
        <c:axId val="1701053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1053855"/>
        <c:crosses val="autoZero"/>
        <c:auto val="1"/>
        <c:lblAlgn val="ctr"/>
        <c:lblOffset val="100"/>
        <c:noMultiLvlLbl val="0"/>
      </c:catAx>
      <c:valAx>
        <c:axId val="170105385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105302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u="none" strike="noStrike" baseline="0">
                <a:effectLst/>
              </a:rPr>
              <a:t>Percent of hospitals that have </a:t>
            </a:r>
            <a:r>
              <a:rPr lang="en-US" sz="1200" b="1" i="0" u="sng" strike="noStrike" baseline="0">
                <a:effectLst/>
              </a:rPr>
              <a:t>engaged patients and/or community members to provide input on quality improvement efforts</a:t>
            </a:r>
            <a:endParaRPr lang="en-US" sz="1200" b="1" u="sng"/>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xlsx]Q7'!$A$2</c:f>
              <c:strCache>
                <c:ptCount val="1"/>
                <c:pt idx="0">
                  <c:v>In Place</c:v>
                </c:pt>
              </c:strCache>
            </c:strRef>
          </c:tx>
          <c:spPr>
            <a:solidFill>
              <a:srgbClr val="92D050"/>
            </a:solidFill>
            <a:ln>
              <a:noFill/>
            </a:ln>
            <a:effectLst/>
          </c:spPr>
          <c:invertIfNegative val="0"/>
          <c:cat>
            <c:strRef>
              <c:f>'[BE Hospital Structure Measures Data.xlsx]Q7'!$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7'!$B$2:$U$2</c:f>
              <c:numCache>
                <c:formatCode>General</c:formatCode>
                <c:ptCount val="20"/>
                <c:pt idx="0">
                  <c:v>4.32</c:v>
                </c:pt>
                <c:pt idx="1">
                  <c:v>3.08</c:v>
                </c:pt>
                <c:pt idx="2">
                  <c:v>6.56</c:v>
                </c:pt>
                <c:pt idx="3">
                  <c:v>6.25</c:v>
                </c:pt>
                <c:pt idx="4">
                  <c:v>6.78</c:v>
                </c:pt>
                <c:pt idx="5">
                  <c:v>6.56</c:v>
                </c:pt>
                <c:pt idx="6">
                  <c:v>7.58</c:v>
                </c:pt>
                <c:pt idx="7">
                  <c:v>8.9600000000000009</c:v>
                </c:pt>
                <c:pt idx="8">
                  <c:v>13.64</c:v>
                </c:pt>
                <c:pt idx="9">
                  <c:v>14.29</c:v>
                </c:pt>
                <c:pt idx="10">
                  <c:v>14.06</c:v>
                </c:pt>
                <c:pt idx="11">
                  <c:v>18.75</c:v>
                </c:pt>
                <c:pt idx="12">
                  <c:v>21.21</c:v>
                </c:pt>
                <c:pt idx="13">
                  <c:v>19.05</c:v>
                </c:pt>
                <c:pt idx="14">
                  <c:v>20.69</c:v>
                </c:pt>
                <c:pt idx="15">
                  <c:v>23.64</c:v>
                </c:pt>
                <c:pt idx="16">
                  <c:v>23.21</c:v>
                </c:pt>
                <c:pt idx="17">
                  <c:v>25.45</c:v>
                </c:pt>
                <c:pt idx="18">
                  <c:v>27.42</c:v>
                </c:pt>
                <c:pt idx="19">
                  <c:v>25.49</c:v>
                </c:pt>
              </c:numCache>
            </c:numRef>
          </c:val>
          <c:extLst>
            <c:ext xmlns:c16="http://schemas.microsoft.com/office/drawing/2014/chart" uri="{C3380CC4-5D6E-409C-BE32-E72D297353CC}">
              <c16:uniqueId val="{00000000-D0E7-4477-B97F-821224A39BBE}"/>
            </c:ext>
          </c:extLst>
        </c:ser>
        <c:ser>
          <c:idx val="1"/>
          <c:order val="1"/>
          <c:tx>
            <c:strRef>
              <c:f>'[BE Hospital Structure Measures Data.xlsx]Q7'!$A$3</c:f>
              <c:strCache>
                <c:ptCount val="1"/>
                <c:pt idx="0">
                  <c:v>Working On It</c:v>
                </c:pt>
              </c:strCache>
            </c:strRef>
          </c:tx>
          <c:spPr>
            <a:solidFill>
              <a:srgbClr val="FFC000"/>
            </a:solidFill>
            <a:ln>
              <a:noFill/>
            </a:ln>
            <a:effectLst/>
          </c:spPr>
          <c:invertIfNegative val="0"/>
          <c:cat>
            <c:strRef>
              <c:f>'[BE Hospital Structure Measures Data.xlsx]Q7'!$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7'!$B$3:$U$3</c:f>
              <c:numCache>
                <c:formatCode>General</c:formatCode>
                <c:ptCount val="20"/>
                <c:pt idx="0">
                  <c:v>8.67</c:v>
                </c:pt>
                <c:pt idx="1">
                  <c:v>24.62</c:v>
                </c:pt>
                <c:pt idx="2">
                  <c:v>27.87</c:v>
                </c:pt>
                <c:pt idx="3">
                  <c:v>34.380000000000003</c:v>
                </c:pt>
                <c:pt idx="4">
                  <c:v>33.9</c:v>
                </c:pt>
                <c:pt idx="5">
                  <c:v>37.700000000000003</c:v>
                </c:pt>
                <c:pt idx="6">
                  <c:v>39.39</c:v>
                </c:pt>
                <c:pt idx="7">
                  <c:v>43.28</c:v>
                </c:pt>
                <c:pt idx="8">
                  <c:v>40.909999999999997</c:v>
                </c:pt>
                <c:pt idx="9">
                  <c:v>47.62</c:v>
                </c:pt>
                <c:pt idx="10">
                  <c:v>51.56</c:v>
                </c:pt>
                <c:pt idx="11">
                  <c:v>50</c:v>
                </c:pt>
                <c:pt idx="12">
                  <c:v>45.45</c:v>
                </c:pt>
                <c:pt idx="13">
                  <c:v>53.97</c:v>
                </c:pt>
                <c:pt idx="14">
                  <c:v>58.62</c:v>
                </c:pt>
                <c:pt idx="15">
                  <c:v>47.27</c:v>
                </c:pt>
                <c:pt idx="16">
                  <c:v>51.79</c:v>
                </c:pt>
                <c:pt idx="17">
                  <c:v>49.09</c:v>
                </c:pt>
                <c:pt idx="18">
                  <c:v>45.16</c:v>
                </c:pt>
                <c:pt idx="19">
                  <c:v>58.82</c:v>
                </c:pt>
              </c:numCache>
            </c:numRef>
          </c:val>
          <c:extLst>
            <c:ext xmlns:c16="http://schemas.microsoft.com/office/drawing/2014/chart" uri="{C3380CC4-5D6E-409C-BE32-E72D297353CC}">
              <c16:uniqueId val="{00000001-D0E7-4477-B97F-821224A39BBE}"/>
            </c:ext>
          </c:extLst>
        </c:ser>
        <c:ser>
          <c:idx val="2"/>
          <c:order val="2"/>
          <c:tx>
            <c:strRef>
              <c:f>'[BE Hospital Structure Measures Data.xlsx]Q7'!$A$4</c:f>
              <c:strCache>
                <c:ptCount val="1"/>
                <c:pt idx="0">
                  <c:v>Have Not Started</c:v>
                </c:pt>
              </c:strCache>
            </c:strRef>
          </c:tx>
          <c:spPr>
            <a:solidFill>
              <a:srgbClr val="FF0000"/>
            </a:solidFill>
            <a:ln>
              <a:noFill/>
            </a:ln>
            <a:effectLst/>
          </c:spPr>
          <c:invertIfNegative val="0"/>
          <c:cat>
            <c:strRef>
              <c:f>'[BE Hospital Structure Measures Data.xlsx]Q7'!$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7'!$B$4:$U$4</c:f>
              <c:numCache>
                <c:formatCode>General</c:formatCode>
                <c:ptCount val="20"/>
                <c:pt idx="0">
                  <c:v>87.01</c:v>
                </c:pt>
                <c:pt idx="1">
                  <c:v>72.31</c:v>
                </c:pt>
                <c:pt idx="2">
                  <c:v>65.569999999999993</c:v>
                </c:pt>
                <c:pt idx="3">
                  <c:v>59.38</c:v>
                </c:pt>
                <c:pt idx="4">
                  <c:v>59.32</c:v>
                </c:pt>
                <c:pt idx="5">
                  <c:v>55.74</c:v>
                </c:pt>
                <c:pt idx="6">
                  <c:v>53.03</c:v>
                </c:pt>
                <c:pt idx="7">
                  <c:v>47.76</c:v>
                </c:pt>
                <c:pt idx="8">
                  <c:v>45.45</c:v>
                </c:pt>
                <c:pt idx="9">
                  <c:v>38.1</c:v>
                </c:pt>
                <c:pt idx="10">
                  <c:v>34.380000000000003</c:v>
                </c:pt>
                <c:pt idx="11">
                  <c:v>31.25</c:v>
                </c:pt>
                <c:pt idx="12">
                  <c:v>33.33</c:v>
                </c:pt>
                <c:pt idx="13">
                  <c:v>26.98</c:v>
                </c:pt>
                <c:pt idx="14">
                  <c:v>20.69</c:v>
                </c:pt>
                <c:pt idx="15">
                  <c:v>29.09</c:v>
                </c:pt>
                <c:pt idx="16">
                  <c:v>25</c:v>
                </c:pt>
                <c:pt idx="17">
                  <c:v>25.45</c:v>
                </c:pt>
                <c:pt idx="18">
                  <c:v>27.42</c:v>
                </c:pt>
                <c:pt idx="19">
                  <c:v>15.69</c:v>
                </c:pt>
              </c:numCache>
            </c:numRef>
          </c:val>
          <c:extLst>
            <c:ext xmlns:c16="http://schemas.microsoft.com/office/drawing/2014/chart" uri="{C3380CC4-5D6E-409C-BE32-E72D297353CC}">
              <c16:uniqueId val="{00000002-D0E7-4477-B97F-821224A39BBE}"/>
            </c:ext>
          </c:extLst>
        </c:ser>
        <c:dLbls>
          <c:showLegendKey val="0"/>
          <c:showVal val="0"/>
          <c:showCatName val="0"/>
          <c:showSerName val="0"/>
          <c:showPercent val="0"/>
          <c:showBubbleSize val="0"/>
        </c:dLbls>
        <c:gapWidth val="150"/>
        <c:overlap val="100"/>
        <c:axId val="1794422111"/>
        <c:axId val="1794410879"/>
      </c:barChart>
      <c:catAx>
        <c:axId val="1794422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4410879"/>
        <c:crosses val="autoZero"/>
        <c:auto val="1"/>
        <c:lblAlgn val="ctr"/>
        <c:lblOffset val="100"/>
        <c:noMultiLvlLbl val="1"/>
      </c:catAx>
      <c:valAx>
        <c:axId val="179441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442211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a:effectLst/>
              </a:rPr>
              <a:t>Percent of hospitals that have a </a:t>
            </a:r>
            <a:r>
              <a:rPr lang="en-US" sz="1200" b="1" i="0" u="sng">
                <a:effectLst/>
              </a:rPr>
              <a:t>strategy for sharing expected respectful care practices </a:t>
            </a:r>
            <a:r>
              <a:rPr lang="en-US" sz="1200" b="0" i="0">
                <a:effectLst/>
              </a:rPr>
              <a:t>with delivery staff and patients (i.e. posting in L&amp;D)</a:t>
            </a:r>
          </a:p>
        </c:rich>
      </c:tx>
      <c:layout>
        <c:manualLayout>
          <c:xMode val="edge"/>
          <c:yMode val="edge"/>
          <c:x val="0.11522900262467192"/>
          <c:y val="3.240740740740740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xlsx]Q8'!$A$2</c:f>
              <c:strCache>
                <c:ptCount val="1"/>
                <c:pt idx="0">
                  <c:v>In Place</c:v>
                </c:pt>
              </c:strCache>
            </c:strRef>
          </c:tx>
          <c:spPr>
            <a:solidFill>
              <a:srgbClr val="92D050"/>
            </a:solidFill>
            <a:ln>
              <a:noFill/>
            </a:ln>
            <a:effectLst/>
          </c:spPr>
          <c:invertIfNegative val="0"/>
          <c:cat>
            <c:strRef>
              <c:f>'[BE Hospital Structure Measures Data.xlsx]Q8'!$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8'!$B$2:$U$2</c:f>
              <c:numCache>
                <c:formatCode>General</c:formatCode>
                <c:ptCount val="20"/>
                <c:pt idx="0">
                  <c:v>9.19</c:v>
                </c:pt>
                <c:pt idx="1">
                  <c:v>10.77</c:v>
                </c:pt>
                <c:pt idx="2">
                  <c:v>13.11</c:v>
                </c:pt>
                <c:pt idx="3">
                  <c:v>7.81</c:v>
                </c:pt>
                <c:pt idx="4">
                  <c:v>10.17</c:v>
                </c:pt>
                <c:pt idx="5">
                  <c:v>9.84</c:v>
                </c:pt>
                <c:pt idx="6">
                  <c:v>19.7</c:v>
                </c:pt>
                <c:pt idx="7">
                  <c:v>22.39</c:v>
                </c:pt>
                <c:pt idx="8">
                  <c:v>22.73</c:v>
                </c:pt>
                <c:pt idx="9">
                  <c:v>26.98</c:v>
                </c:pt>
                <c:pt idx="10">
                  <c:v>35.94</c:v>
                </c:pt>
                <c:pt idx="11">
                  <c:v>39.06</c:v>
                </c:pt>
                <c:pt idx="12">
                  <c:v>45.45</c:v>
                </c:pt>
                <c:pt idx="13">
                  <c:v>44.44</c:v>
                </c:pt>
                <c:pt idx="14">
                  <c:v>50</c:v>
                </c:pt>
                <c:pt idx="15">
                  <c:v>61.82</c:v>
                </c:pt>
                <c:pt idx="16">
                  <c:v>58.93</c:v>
                </c:pt>
                <c:pt idx="17">
                  <c:v>56.36</c:v>
                </c:pt>
                <c:pt idx="18">
                  <c:v>61.29</c:v>
                </c:pt>
                <c:pt idx="19">
                  <c:v>68.63</c:v>
                </c:pt>
              </c:numCache>
            </c:numRef>
          </c:val>
          <c:extLst>
            <c:ext xmlns:c16="http://schemas.microsoft.com/office/drawing/2014/chart" uri="{C3380CC4-5D6E-409C-BE32-E72D297353CC}">
              <c16:uniqueId val="{00000000-669A-453F-A088-CB2A515CFAF4}"/>
            </c:ext>
          </c:extLst>
        </c:ser>
        <c:ser>
          <c:idx val="1"/>
          <c:order val="1"/>
          <c:tx>
            <c:strRef>
              <c:f>'[BE Hospital Structure Measures Data.xlsx]Q8'!$A$3</c:f>
              <c:strCache>
                <c:ptCount val="1"/>
                <c:pt idx="0">
                  <c:v>Working On It</c:v>
                </c:pt>
              </c:strCache>
            </c:strRef>
          </c:tx>
          <c:spPr>
            <a:solidFill>
              <a:srgbClr val="FFC000"/>
            </a:solidFill>
            <a:ln>
              <a:noFill/>
            </a:ln>
            <a:effectLst/>
          </c:spPr>
          <c:invertIfNegative val="0"/>
          <c:cat>
            <c:strRef>
              <c:f>'[BE Hospital Structure Measures Data.xlsx]Q8'!$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8'!$B$3:$U$3</c:f>
              <c:numCache>
                <c:formatCode>General</c:formatCode>
                <c:ptCount val="20"/>
                <c:pt idx="0">
                  <c:v>15.12</c:v>
                </c:pt>
                <c:pt idx="1">
                  <c:v>32.31</c:v>
                </c:pt>
                <c:pt idx="2">
                  <c:v>37.700000000000003</c:v>
                </c:pt>
                <c:pt idx="3">
                  <c:v>37.5</c:v>
                </c:pt>
                <c:pt idx="4">
                  <c:v>42.37</c:v>
                </c:pt>
                <c:pt idx="5">
                  <c:v>42.62</c:v>
                </c:pt>
                <c:pt idx="6">
                  <c:v>43.94</c:v>
                </c:pt>
                <c:pt idx="7">
                  <c:v>52.24</c:v>
                </c:pt>
                <c:pt idx="8">
                  <c:v>57.58</c:v>
                </c:pt>
                <c:pt idx="9">
                  <c:v>60.32</c:v>
                </c:pt>
                <c:pt idx="10">
                  <c:v>51.56</c:v>
                </c:pt>
                <c:pt idx="11">
                  <c:v>48.44</c:v>
                </c:pt>
                <c:pt idx="12">
                  <c:v>43.94</c:v>
                </c:pt>
                <c:pt idx="13">
                  <c:v>47.62</c:v>
                </c:pt>
                <c:pt idx="14">
                  <c:v>41.38</c:v>
                </c:pt>
                <c:pt idx="15">
                  <c:v>32.729999999999997</c:v>
                </c:pt>
                <c:pt idx="16">
                  <c:v>33.93</c:v>
                </c:pt>
                <c:pt idx="17">
                  <c:v>34.549999999999997</c:v>
                </c:pt>
                <c:pt idx="18">
                  <c:v>35.479999999999997</c:v>
                </c:pt>
                <c:pt idx="19">
                  <c:v>29.41</c:v>
                </c:pt>
              </c:numCache>
            </c:numRef>
          </c:val>
          <c:extLst>
            <c:ext xmlns:c16="http://schemas.microsoft.com/office/drawing/2014/chart" uri="{C3380CC4-5D6E-409C-BE32-E72D297353CC}">
              <c16:uniqueId val="{00000001-669A-453F-A088-CB2A515CFAF4}"/>
            </c:ext>
          </c:extLst>
        </c:ser>
        <c:ser>
          <c:idx val="2"/>
          <c:order val="2"/>
          <c:tx>
            <c:strRef>
              <c:f>'[BE Hospital Structure Measures Data.xlsx]Q8'!$A$4</c:f>
              <c:strCache>
                <c:ptCount val="1"/>
                <c:pt idx="0">
                  <c:v>Have Not Started</c:v>
                </c:pt>
              </c:strCache>
            </c:strRef>
          </c:tx>
          <c:spPr>
            <a:solidFill>
              <a:srgbClr val="FF0000"/>
            </a:solidFill>
            <a:ln>
              <a:noFill/>
            </a:ln>
            <a:effectLst/>
          </c:spPr>
          <c:invertIfNegative val="0"/>
          <c:cat>
            <c:strRef>
              <c:f>'[BE Hospital Structure Measures Data.xlsx]Q8'!$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8'!$B$4:$U$4</c:f>
              <c:numCache>
                <c:formatCode>General</c:formatCode>
                <c:ptCount val="20"/>
                <c:pt idx="0">
                  <c:v>75.680000000000007</c:v>
                </c:pt>
                <c:pt idx="1">
                  <c:v>56.92</c:v>
                </c:pt>
                <c:pt idx="2">
                  <c:v>49.18</c:v>
                </c:pt>
                <c:pt idx="3">
                  <c:v>54.69</c:v>
                </c:pt>
                <c:pt idx="4">
                  <c:v>47.46</c:v>
                </c:pt>
                <c:pt idx="5">
                  <c:v>47.54</c:v>
                </c:pt>
                <c:pt idx="6">
                  <c:v>36.36</c:v>
                </c:pt>
                <c:pt idx="7">
                  <c:v>25.37</c:v>
                </c:pt>
                <c:pt idx="8">
                  <c:v>19.7</c:v>
                </c:pt>
                <c:pt idx="9">
                  <c:v>12.7</c:v>
                </c:pt>
                <c:pt idx="10">
                  <c:v>12.5</c:v>
                </c:pt>
                <c:pt idx="11">
                  <c:v>12.5</c:v>
                </c:pt>
                <c:pt idx="12">
                  <c:v>10.61</c:v>
                </c:pt>
                <c:pt idx="13">
                  <c:v>7.94</c:v>
                </c:pt>
                <c:pt idx="14">
                  <c:v>8.6199999999999992</c:v>
                </c:pt>
                <c:pt idx="15">
                  <c:v>5.45</c:v>
                </c:pt>
                <c:pt idx="16">
                  <c:v>7.14</c:v>
                </c:pt>
                <c:pt idx="17">
                  <c:v>9.09</c:v>
                </c:pt>
                <c:pt idx="18">
                  <c:v>3.23</c:v>
                </c:pt>
                <c:pt idx="19">
                  <c:v>1.96</c:v>
                </c:pt>
              </c:numCache>
            </c:numRef>
          </c:val>
          <c:extLst>
            <c:ext xmlns:c16="http://schemas.microsoft.com/office/drawing/2014/chart" uri="{C3380CC4-5D6E-409C-BE32-E72D297353CC}">
              <c16:uniqueId val="{00000002-669A-453F-A088-CB2A515CFAF4}"/>
            </c:ext>
          </c:extLst>
        </c:ser>
        <c:dLbls>
          <c:showLegendKey val="0"/>
          <c:showVal val="0"/>
          <c:showCatName val="0"/>
          <c:showSerName val="0"/>
          <c:showPercent val="0"/>
          <c:showBubbleSize val="0"/>
        </c:dLbls>
        <c:gapWidth val="150"/>
        <c:overlap val="100"/>
        <c:axId val="1378950303"/>
        <c:axId val="1378951135"/>
      </c:barChart>
      <c:catAx>
        <c:axId val="137895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8951135"/>
        <c:crosses val="autoZero"/>
        <c:auto val="1"/>
        <c:lblAlgn val="ctr"/>
        <c:lblOffset val="100"/>
        <c:noMultiLvlLbl val="1"/>
      </c:catAx>
      <c:valAx>
        <c:axId val="13789511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895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u="none" strike="noStrike" baseline="0">
                <a:effectLst/>
              </a:rPr>
              <a:t>Percent of hospitals that have </a:t>
            </a:r>
            <a:r>
              <a:rPr lang="en-US" sz="1200" b="1" i="0" u="sng" strike="noStrike" baseline="0">
                <a:effectLst/>
              </a:rPr>
              <a:t>implemented a Patient Reported Experience Measure (PREM) patient survey</a:t>
            </a:r>
            <a:endParaRPr lang="en-US" sz="1200" b="1" u="sng"/>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xlsx]Q9'!$A$2</c:f>
              <c:strCache>
                <c:ptCount val="1"/>
                <c:pt idx="0">
                  <c:v>In Place</c:v>
                </c:pt>
              </c:strCache>
            </c:strRef>
          </c:tx>
          <c:spPr>
            <a:solidFill>
              <a:srgbClr val="92D050"/>
            </a:solidFill>
            <a:ln>
              <a:noFill/>
            </a:ln>
            <a:effectLst/>
          </c:spPr>
          <c:invertIfNegative val="0"/>
          <c:cat>
            <c:strRef>
              <c:f>'[BE Hospital Structure Measures Data.xlsx]Q9'!$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9'!$B$2:$U$2</c:f>
              <c:numCache>
                <c:formatCode>General</c:formatCode>
                <c:ptCount val="20"/>
                <c:pt idx="0">
                  <c:v>8.65</c:v>
                </c:pt>
                <c:pt idx="1">
                  <c:v>9.23</c:v>
                </c:pt>
                <c:pt idx="2">
                  <c:v>11.48</c:v>
                </c:pt>
                <c:pt idx="3">
                  <c:v>10.94</c:v>
                </c:pt>
                <c:pt idx="4">
                  <c:v>10.17</c:v>
                </c:pt>
                <c:pt idx="5">
                  <c:v>9.84</c:v>
                </c:pt>
                <c:pt idx="6">
                  <c:v>10.61</c:v>
                </c:pt>
                <c:pt idx="7">
                  <c:v>5.97</c:v>
                </c:pt>
                <c:pt idx="8">
                  <c:v>12.12</c:v>
                </c:pt>
                <c:pt idx="9">
                  <c:v>11.11</c:v>
                </c:pt>
                <c:pt idx="10">
                  <c:v>18.75</c:v>
                </c:pt>
                <c:pt idx="11">
                  <c:v>29.69</c:v>
                </c:pt>
                <c:pt idx="12">
                  <c:v>30.3</c:v>
                </c:pt>
                <c:pt idx="13">
                  <c:v>38.1</c:v>
                </c:pt>
                <c:pt idx="14">
                  <c:v>44.83</c:v>
                </c:pt>
                <c:pt idx="15">
                  <c:v>49.09</c:v>
                </c:pt>
                <c:pt idx="16">
                  <c:v>53.57</c:v>
                </c:pt>
                <c:pt idx="17">
                  <c:v>54.55</c:v>
                </c:pt>
                <c:pt idx="18">
                  <c:v>58.06</c:v>
                </c:pt>
                <c:pt idx="19">
                  <c:v>58.82</c:v>
                </c:pt>
              </c:numCache>
            </c:numRef>
          </c:val>
          <c:extLst>
            <c:ext xmlns:c16="http://schemas.microsoft.com/office/drawing/2014/chart" uri="{C3380CC4-5D6E-409C-BE32-E72D297353CC}">
              <c16:uniqueId val="{00000000-EE0E-4E6B-BC96-2278A5481720}"/>
            </c:ext>
          </c:extLst>
        </c:ser>
        <c:ser>
          <c:idx val="1"/>
          <c:order val="1"/>
          <c:tx>
            <c:strRef>
              <c:f>'[BE Hospital Structure Measures Data.xlsx]Q9'!$A$3</c:f>
              <c:strCache>
                <c:ptCount val="1"/>
                <c:pt idx="0">
                  <c:v>Working On It</c:v>
                </c:pt>
              </c:strCache>
            </c:strRef>
          </c:tx>
          <c:spPr>
            <a:solidFill>
              <a:srgbClr val="FFC000"/>
            </a:solidFill>
            <a:ln>
              <a:noFill/>
            </a:ln>
            <a:effectLst/>
          </c:spPr>
          <c:invertIfNegative val="0"/>
          <c:cat>
            <c:strRef>
              <c:f>'[BE Hospital Structure Measures Data.xlsx]Q9'!$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9'!$B$3:$U$3</c:f>
              <c:numCache>
                <c:formatCode>General</c:formatCode>
                <c:ptCount val="20"/>
                <c:pt idx="0">
                  <c:v>10.8</c:v>
                </c:pt>
                <c:pt idx="1">
                  <c:v>15.38</c:v>
                </c:pt>
                <c:pt idx="2">
                  <c:v>19.670000000000002</c:v>
                </c:pt>
                <c:pt idx="3">
                  <c:v>23.44</c:v>
                </c:pt>
                <c:pt idx="4">
                  <c:v>28.81</c:v>
                </c:pt>
                <c:pt idx="5">
                  <c:v>27.87</c:v>
                </c:pt>
                <c:pt idx="6">
                  <c:v>34.85</c:v>
                </c:pt>
                <c:pt idx="7">
                  <c:v>43.28</c:v>
                </c:pt>
                <c:pt idx="8">
                  <c:v>48.48</c:v>
                </c:pt>
                <c:pt idx="9">
                  <c:v>57.14</c:v>
                </c:pt>
                <c:pt idx="10">
                  <c:v>57.81</c:v>
                </c:pt>
                <c:pt idx="11">
                  <c:v>45.31</c:v>
                </c:pt>
                <c:pt idx="12">
                  <c:v>43.94</c:v>
                </c:pt>
                <c:pt idx="13">
                  <c:v>42.86</c:v>
                </c:pt>
                <c:pt idx="14">
                  <c:v>36.21</c:v>
                </c:pt>
                <c:pt idx="15">
                  <c:v>38.18</c:v>
                </c:pt>
                <c:pt idx="16">
                  <c:v>37.5</c:v>
                </c:pt>
                <c:pt idx="17">
                  <c:v>34.549999999999997</c:v>
                </c:pt>
                <c:pt idx="18">
                  <c:v>27.42</c:v>
                </c:pt>
                <c:pt idx="19">
                  <c:v>29.41</c:v>
                </c:pt>
              </c:numCache>
            </c:numRef>
          </c:val>
          <c:extLst>
            <c:ext xmlns:c16="http://schemas.microsoft.com/office/drawing/2014/chart" uri="{C3380CC4-5D6E-409C-BE32-E72D297353CC}">
              <c16:uniqueId val="{00000001-EE0E-4E6B-BC96-2278A5481720}"/>
            </c:ext>
          </c:extLst>
        </c:ser>
        <c:ser>
          <c:idx val="2"/>
          <c:order val="2"/>
          <c:tx>
            <c:strRef>
              <c:f>'[BE Hospital Structure Measures Data.xlsx]Q9'!$A$4</c:f>
              <c:strCache>
                <c:ptCount val="1"/>
                <c:pt idx="0">
                  <c:v>Have Not Started</c:v>
                </c:pt>
              </c:strCache>
            </c:strRef>
          </c:tx>
          <c:spPr>
            <a:solidFill>
              <a:srgbClr val="FF0000"/>
            </a:solidFill>
            <a:ln>
              <a:noFill/>
            </a:ln>
            <a:effectLst/>
          </c:spPr>
          <c:invertIfNegative val="0"/>
          <c:cat>
            <c:strRef>
              <c:f>'[BE Hospital Structure Measures Data.xlsx]Q9'!$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9'!$B$4:$U$4</c:f>
              <c:numCache>
                <c:formatCode>General</c:formatCode>
                <c:ptCount val="20"/>
                <c:pt idx="0">
                  <c:v>80.55</c:v>
                </c:pt>
                <c:pt idx="1">
                  <c:v>75.38</c:v>
                </c:pt>
                <c:pt idx="2">
                  <c:v>68.849999999999994</c:v>
                </c:pt>
                <c:pt idx="3">
                  <c:v>65.62</c:v>
                </c:pt>
                <c:pt idx="4">
                  <c:v>61.02</c:v>
                </c:pt>
                <c:pt idx="5">
                  <c:v>62.3</c:v>
                </c:pt>
                <c:pt idx="6">
                  <c:v>54.55</c:v>
                </c:pt>
                <c:pt idx="7">
                  <c:v>50.75</c:v>
                </c:pt>
                <c:pt idx="8">
                  <c:v>39.39</c:v>
                </c:pt>
                <c:pt idx="9">
                  <c:v>31.75</c:v>
                </c:pt>
                <c:pt idx="10">
                  <c:v>23.44</c:v>
                </c:pt>
                <c:pt idx="11">
                  <c:v>25</c:v>
                </c:pt>
                <c:pt idx="12">
                  <c:v>25.76</c:v>
                </c:pt>
                <c:pt idx="13">
                  <c:v>19.05</c:v>
                </c:pt>
                <c:pt idx="14">
                  <c:v>18.97</c:v>
                </c:pt>
                <c:pt idx="15">
                  <c:v>12.73</c:v>
                </c:pt>
                <c:pt idx="16">
                  <c:v>8.93</c:v>
                </c:pt>
                <c:pt idx="17">
                  <c:v>10.91</c:v>
                </c:pt>
                <c:pt idx="18">
                  <c:v>14.52</c:v>
                </c:pt>
                <c:pt idx="19">
                  <c:v>11.76</c:v>
                </c:pt>
              </c:numCache>
            </c:numRef>
          </c:val>
          <c:extLst>
            <c:ext xmlns:c16="http://schemas.microsoft.com/office/drawing/2014/chart" uri="{C3380CC4-5D6E-409C-BE32-E72D297353CC}">
              <c16:uniqueId val="{00000002-EE0E-4E6B-BC96-2278A5481720}"/>
            </c:ext>
          </c:extLst>
        </c:ser>
        <c:dLbls>
          <c:showLegendKey val="0"/>
          <c:showVal val="0"/>
          <c:showCatName val="0"/>
          <c:showSerName val="0"/>
          <c:showPercent val="0"/>
          <c:showBubbleSize val="0"/>
        </c:dLbls>
        <c:gapWidth val="150"/>
        <c:overlap val="100"/>
        <c:axId val="1406035487"/>
        <c:axId val="1406035903"/>
      </c:barChart>
      <c:catAx>
        <c:axId val="14060354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6035903"/>
        <c:crosses val="autoZero"/>
        <c:auto val="1"/>
        <c:lblAlgn val="ctr"/>
        <c:lblOffset val="100"/>
        <c:noMultiLvlLbl val="1"/>
      </c:catAx>
      <c:valAx>
        <c:axId val="140603590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603548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u="none" strike="noStrike" baseline="0">
                <a:effectLst/>
              </a:rPr>
              <a:t> Percent of hospitals that have a </a:t>
            </a:r>
            <a:r>
              <a:rPr lang="en-US" sz="1200" b="1" i="0" u="sng" strike="noStrike" baseline="0">
                <a:effectLst/>
              </a:rPr>
              <a:t>standardized system to provide all patients the recommended postpartum safety patient education, where to call, and early follow-up</a:t>
            </a:r>
            <a:endParaRPr lang="en-US" sz="1200" b="1" u="sng"/>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xlsx]Q10'!$A$2</c:f>
              <c:strCache>
                <c:ptCount val="1"/>
                <c:pt idx="0">
                  <c:v>In Place</c:v>
                </c:pt>
              </c:strCache>
            </c:strRef>
          </c:tx>
          <c:spPr>
            <a:solidFill>
              <a:srgbClr val="92D050"/>
            </a:solidFill>
            <a:ln>
              <a:noFill/>
            </a:ln>
            <a:effectLst/>
          </c:spPr>
          <c:invertIfNegative val="0"/>
          <c:cat>
            <c:strRef>
              <c:f>'[BE Hospital Structure Measures Data.xlsx]Q10'!$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10'!$B$2:$U$2</c:f>
              <c:numCache>
                <c:formatCode>General</c:formatCode>
                <c:ptCount val="20"/>
                <c:pt idx="0">
                  <c:v>53.52</c:v>
                </c:pt>
                <c:pt idx="1">
                  <c:v>67.69</c:v>
                </c:pt>
                <c:pt idx="2">
                  <c:v>63.93</c:v>
                </c:pt>
                <c:pt idx="3">
                  <c:v>68.75</c:v>
                </c:pt>
                <c:pt idx="4">
                  <c:v>72.88</c:v>
                </c:pt>
                <c:pt idx="5">
                  <c:v>72.13</c:v>
                </c:pt>
                <c:pt idx="6">
                  <c:v>80.3</c:v>
                </c:pt>
                <c:pt idx="7">
                  <c:v>77.61</c:v>
                </c:pt>
                <c:pt idx="8">
                  <c:v>77.27</c:v>
                </c:pt>
                <c:pt idx="9">
                  <c:v>79.37</c:v>
                </c:pt>
                <c:pt idx="10">
                  <c:v>82.81</c:v>
                </c:pt>
                <c:pt idx="11">
                  <c:v>84.38</c:v>
                </c:pt>
                <c:pt idx="12">
                  <c:v>84.85</c:v>
                </c:pt>
                <c:pt idx="13">
                  <c:v>88.89</c:v>
                </c:pt>
                <c:pt idx="14">
                  <c:v>84.48</c:v>
                </c:pt>
                <c:pt idx="15">
                  <c:v>86.54</c:v>
                </c:pt>
                <c:pt idx="16">
                  <c:v>89.09</c:v>
                </c:pt>
                <c:pt idx="17">
                  <c:v>92.59</c:v>
                </c:pt>
                <c:pt idx="18">
                  <c:v>87.1</c:v>
                </c:pt>
                <c:pt idx="19">
                  <c:v>88.24</c:v>
                </c:pt>
              </c:numCache>
            </c:numRef>
          </c:val>
          <c:extLst>
            <c:ext xmlns:c16="http://schemas.microsoft.com/office/drawing/2014/chart" uri="{C3380CC4-5D6E-409C-BE32-E72D297353CC}">
              <c16:uniqueId val="{00000000-1064-4541-BDA5-CCD73357279E}"/>
            </c:ext>
          </c:extLst>
        </c:ser>
        <c:ser>
          <c:idx val="1"/>
          <c:order val="1"/>
          <c:tx>
            <c:strRef>
              <c:f>'[BE Hospital Structure Measures Data.xlsx]Q10'!$A$3</c:f>
              <c:strCache>
                <c:ptCount val="1"/>
                <c:pt idx="0">
                  <c:v>Working On It</c:v>
                </c:pt>
              </c:strCache>
            </c:strRef>
          </c:tx>
          <c:spPr>
            <a:solidFill>
              <a:srgbClr val="FFC000"/>
            </a:solidFill>
            <a:ln>
              <a:noFill/>
            </a:ln>
            <a:effectLst/>
          </c:spPr>
          <c:invertIfNegative val="0"/>
          <c:cat>
            <c:strRef>
              <c:f>'[BE Hospital Structure Measures Data.xlsx]Q10'!$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10'!$B$3:$U$3</c:f>
              <c:numCache>
                <c:formatCode>General</c:formatCode>
                <c:ptCount val="20"/>
                <c:pt idx="0">
                  <c:v>15.65</c:v>
                </c:pt>
                <c:pt idx="1">
                  <c:v>12.31</c:v>
                </c:pt>
                <c:pt idx="2">
                  <c:v>13.11</c:v>
                </c:pt>
                <c:pt idx="3">
                  <c:v>18.75</c:v>
                </c:pt>
                <c:pt idx="4">
                  <c:v>16.95</c:v>
                </c:pt>
                <c:pt idx="5">
                  <c:v>19.670000000000002</c:v>
                </c:pt>
                <c:pt idx="6">
                  <c:v>13.64</c:v>
                </c:pt>
                <c:pt idx="7">
                  <c:v>16.420000000000002</c:v>
                </c:pt>
                <c:pt idx="8">
                  <c:v>16.670000000000002</c:v>
                </c:pt>
                <c:pt idx="9">
                  <c:v>19.05</c:v>
                </c:pt>
                <c:pt idx="10">
                  <c:v>17.190000000000001</c:v>
                </c:pt>
                <c:pt idx="11">
                  <c:v>15.62</c:v>
                </c:pt>
                <c:pt idx="12">
                  <c:v>13.64</c:v>
                </c:pt>
                <c:pt idx="13">
                  <c:v>9.52</c:v>
                </c:pt>
                <c:pt idx="14">
                  <c:v>13.79</c:v>
                </c:pt>
                <c:pt idx="15">
                  <c:v>13.46</c:v>
                </c:pt>
                <c:pt idx="16">
                  <c:v>10.91</c:v>
                </c:pt>
                <c:pt idx="17">
                  <c:v>7.41</c:v>
                </c:pt>
                <c:pt idx="18">
                  <c:v>12.9</c:v>
                </c:pt>
                <c:pt idx="19">
                  <c:v>11.76</c:v>
                </c:pt>
              </c:numCache>
            </c:numRef>
          </c:val>
          <c:extLst>
            <c:ext xmlns:c16="http://schemas.microsoft.com/office/drawing/2014/chart" uri="{C3380CC4-5D6E-409C-BE32-E72D297353CC}">
              <c16:uniqueId val="{00000001-1064-4541-BDA5-CCD73357279E}"/>
            </c:ext>
          </c:extLst>
        </c:ser>
        <c:ser>
          <c:idx val="2"/>
          <c:order val="2"/>
          <c:tx>
            <c:strRef>
              <c:f>'[BE Hospital Structure Measures Data.xlsx]Q10'!$A$4</c:f>
              <c:strCache>
                <c:ptCount val="1"/>
                <c:pt idx="0">
                  <c:v>Have Not Started</c:v>
                </c:pt>
              </c:strCache>
            </c:strRef>
          </c:tx>
          <c:spPr>
            <a:solidFill>
              <a:srgbClr val="FF0000"/>
            </a:solidFill>
            <a:ln>
              <a:noFill/>
            </a:ln>
            <a:effectLst/>
          </c:spPr>
          <c:invertIfNegative val="0"/>
          <c:cat>
            <c:strRef>
              <c:f>'[BE Hospital Structure Measures Data.xlsx]Q10'!$B$1:$U$1</c:f>
              <c:strCache>
                <c:ptCount val="20"/>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pt idx="19">
                  <c:v>Feb-23</c:v>
                </c:pt>
              </c:strCache>
            </c:strRef>
          </c:cat>
          <c:val>
            <c:numRef>
              <c:f>'[BE Hospital Structure Measures Data.xlsx]Q10'!$B$4:$U$4</c:f>
              <c:numCache>
                <c:formatCode>General</c:formatCode>
                <c:ptCount val="20"/>
                <c:pt idx="0">
                  <c:v>30.83</c:v>
                </c:pt>
                <c:pt idx="1">
                  <c:v>20</c:v>
                </c:pt>
                <c:pt idx="2">
                  <c:v>22.95</c:v>
                </c:pt>
                <c:pt idx="3">
                  <c:v>12.5</c:v>
                </c:pt>
                <c:pt idx="4">
                  <c:v>10.17</c:v>
                </c:pt>
                <c:pt idx="5">
                  <c:v>8.1999999999999993</c:v>
                </c:pt>
                <c:pt idx="6">
                  <c:v>6.06</c:v>
                </c:pt>
                <c:pt idx="7">
                  <c:v>5.97</c:v>
                </c:pt>
                <c:pt idx="8">
                  <c:v>6.06</c:v>
                </c:pt>
                <c:pt idx="9">
                  <c:v>1.59</c:v>
                </c:pt>
                <c:pt idx="10">
                  <c:v>0</c:v>
                </c:pt>
                <c:pt idx="11">
                  <c:v>0</c:v>
                </c:pt>
                <c:pt idx="12">
                  <c:v>1.52</c:v>
                </c:pt>
                <c:pt idx="13">
                  <c:v>1.59</c:v>
                </c:pt>
                <c:pt idx="14">
                  <c:v>1.72</c:v>
                </c:pt>
                <c:pt idx="15">
                  <c:v>0</c:v>
                </c:pt>
                <c:pt idx="16">
                  <c:v>0</c:v>
                </c:pt>
                <c:pt idx="17">
                  <c:v>0</c:v>
                </c:pt>
                <c:pt idx="18">
                  <c:v>0</c:v>
                </c:pt>
                <c:pt idx="19">
                  <c:v>0</c:v>
                </c:pt>
              </c:numCache>
            </c:numRef>
          </c:val>
          <c:extLst>
            <c:ext xmlns:c16="http://schemas.microsoft.com/office/drawing/2014/chart" uri="{C3380CC4-5D6E-409C-BE32-E72D297353CC}">
              <c16:uniqueId val="{00000002-1064-4541-BDA5-CCD73357279E}"/>
            </c:ext>
          </c:extLst>
        </c:ser>
        <c:dLbls>
          <c:showLegendKey val="0"/>
          <c:showVal val="0"/>
          <c:showCatName val="0"/>
          <c:showSerName val="0"/>
          <c:showPercent val="0"/>
          <c:showBubbleSize val="0"/>
        </c:dLbls>
        <c:gapWidth val="150"/>
        <c:overlap val="100"/>
        <c:axId val="1853675359"/>
        <c:axId val="1853676191"/>
      </c:barChart>
      <c:catAx>
        <c:axId val="1853675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3676191"/>
        <c:crosses val="autoZero"/>
        <c:auto val="1"/>
        <c:lblAlgn val="ctr"/>
        <c:lblOffset val="100"/>
        <c:noMultiLvlLbl val="1"/>
      </c:catAx>
      <c:valAx>
        <c:axId val="18536761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3675359"/>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0E_D4919EC8.xml><?xml version="1.0" encoding="utf-8"?>
<p188:cmLst xmlns:a="http://schemas.openxmlformats.org/drawingml/2006/main" xmlns:r="http://schemas.openxmlformats.org/officeDocument/2006/relationships" xmlns:p188="http://schemas.microsoft.com/office/powerpoint/2018/8/main">
  <p188:cm id="{C133731C-5E0B-477C-85E9-1FB22FB6ED0D}" authorId="{0B48CC40-4357-5959-C41E-8F630855A478}" status="resolved" created="2023-02-09T19:58:51.532" complete="100000">
    <pc:sldMkLst xmlns:pc="http://schemas.microsoft.com/office/powerpoint/2013/main/command">
      <pc:docMk/>
      <pc:sldMk cId="448071875" sldId="796"/>
    </pc:sldMkLst>
    <p188:txBody>
      <a:bodyPr/>
      <a:lstStyle/>
      <a:p>
        <a:r>
          <a:rPr lang="en-US"/>
          <a:t>check in with dan 2/10</a:t>
        </a:r>
      </a:p>
    </p188:txBody>
  </p188:cm>
</p188:cmLst>
</file>

<file path=ppt/diagrams/_rels/data1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svg"/><Relationship Id="rId1" Type="http://schemas.openxmlformats.org/officeDocument/2006/relationships/image" Target="../media/image139.png"/><Relationship Id="rId6" Type="http://schemas.openxmlformats.org/officeDocument/2006/relationships/image" Target="../media/image144.svg"/><Relationship Id="rId5" Type="http://schemas.openxmlformats.org/officeDocument/2006/relationships/image" Target="../media/image143.png"/><Relationship Id="rId4" Type="http://schemas.openxmlformats.org/officeDocument/2006/relationships/image" Target="../media/image142.svg"/></Relationships>
</file>

<file path=ppt/diagrams/_rels/data11.xml.rels><?xml version="1.0" encoding="UTF-8" standalone="yes"?>
<Relationships xmlns="http://schemas.openxmlformats.org/package/2006/relationships"><Relationship Id="rId3" Type="http://schemas.openxmlformats.org/officeDocument/2006/relationships/hyperlink" Target="https://www.dhs.state.il.us/page.aspx?item=29721" TargetMode="External"/><Relationship Id="rId2" Type="http://schemas.openxmlformats.org/officeDocument/2006/relationships/hyperlink" Target="https://www.dhs.state.il.us/?item=137797" TargetMode="External"/><Relationship Id="rId1" Type="http://schemas.openxmlformats.org/officeDocument/2006/relationships/hyperlink" Target="https://www.fns.usda.gov/snap/changes-2023-benefit-amounts" TargetMode="External"/><Relationship Id="rId6" Type="http://schemas.openxmlformats.org/officeDocument/2006/relationships/hyperlink" Target="https://abe.illinois.gov/abe/access/" TargetMode="External"/><Relationship Id="rId5" Type="http://schemas.openxmlformats.org/officeDocument/2006/relationships/hyperlink" Target="https://illinoisaap.org/covid-19/" TargetMode="External"/><Relationship Id="rId4" Type="http://schemas.openxmlformats.org/officeDocument/2006/relationships/hyperlink" Target="https://eat-move-save.extension.illinois.edu/" TargetMode="External"/></Relationships>
</file>

<file path=ppt/diagrams/_rels/data9.xml.rels><?xml version="1.0" encoding="UTF-8" standalone="yes"?>
<Relationships xmlns="http://schemas.openxmlformats.org/package/2006/relationships"><Relationship Id="rId2" Type="http://schemas.openxmlformats.org/officeDocument/2006/relationships/hyperlink" Target="https://www.cmqcc.org/sites/default/files/Vbirth-Toolkit-with-Supplement_Final_11.30.22_2.pdf" TargetMode="External"/><Relationship Id="rId1" Type="http://schemas.openxmlformats.org/officeDocument/2006/relationships/hyperlink" Target="https://www.youtube.com/watch?v=H0UX_oE8ouA" TargetMode="External"/></Relationships>
</file>

<file path=ppt/diagrams/_rels/drawing10.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svg"/><Relationship Id="rId1" Type="http://schemas.openxmlformats.org/officeDocument/2006/relationships/image" Target="../media/image139.png"/><Relationship Id="rId6" Type="http://schemas.openxmlformats.org/officeDocument/2006/relationships/image" Target="../media/image144.svg"/><Relationship Id="rId5" Type="http://schemas.openxmlformats.org/officeDocument/2006/relationships/image" Target="../media/image143.png"/><Relationship Id="rId4" Type="http://schemas.openxmlformats.org/officeDocument/2006/relationships/image" Target="../media/image142.svg"/></Relationships>
</file>

<file path=ppt/diagrams/_rels/drawing11.xml.rels><?xml version="1.0" encoding="UTF-8" standalone="yes"?>
<Relationships xmlns="http://schemas.openxmlformats.org/package/2006/relationships"><Relationship Id="rId3" Type="http://schemas.openxmlformats.org/officeDocument/2006/relationships/hyperlink" Target="https://www.dhs.state.il.us/page.aspx?item=29721" TargetMode="External"/><Relationship Id="rId2" Type="http://schemas.openxmlformats.org/officeDocument/2006/relationships/hyperlink" Target="https://www.dhs.state.il.us/?item=137797" TargetMode="External"/><Relationship Id="rId1" Type="http://schemas.openxmlformats.org/officeDocument/2006/relationships/hyperlink" Target="https://www.fns.usda.gov/snap/changes-2023-benefit-amounts" TargetMode="External"/><Relationship Id="rId6" Type="http://schemas.openxmlformats.org/officeDocument/2006/relationships/hyperlink" Target="https://abe.illinois.gov/abe/access/" TargetMode="External"/><Relationship Id="rId5" Type="http://schemas.openxmlformats.org/officeDocument/2006/relationships/hyperlink" Target="https://illinoisaap.org/covid-19/" TargetMode="External"/><Relationship Id="rId4" Type="http://schemas.openxmlformats.org/officeDocument/2006/relationships/hyperlink" Target="https://eat-move-save.extension.illinois.edu/" TargetMode="External"/></Relationships>
</file>

<file path=ppt/diagrams/_rels/drawing9.xml.rels><?xml version="1.0" encoding="UTF-8" standalone="yes"?>
<Relationships xmlns="http://schemas.openxmlformats.org/package/2006/relationships"><Relationship Id="rId2" Type="http://schemas.openxmlformats.org/officeDocument/2006/relationships/hyperlink" Target="https://www.cmqcc.org/sites/default/files/Vbirth-Toolkit-with-Supplement_Final_11.30.22_2.pdf" TargetMode="External"/><Relationship Id="rId1" Type="http://schemas.openxmlformats.org/officeDocument/2006/relationships/hyperlink" Target="https://www.youtube.com/watch?v=H0UX_oE8ouA" TargetMode="Externa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675C071-9FFB-4F2C-9FCE-A936E4242794}" type="doc">
      <dgm:prSet loTypeId="urn:microsoft.com/office/officeart/2005/8/layout/vList2" loCatId="list" qsTypeId="urn:microsoft.com/office/officeart/2005/8/quickstyle/simple4" qsCatId="simple" csTypeId="urn:microsoft.com/office/officeart/2005/8/colors/colorful5" csCatId="colorful" phldr="1"/>
      <dgm:spPr/>
      <dgm:t>
        <a:bodyPr/>
        <a:lstStyle/>
        <a:p>
          <a:endParaRPr lang="en-US"/>
        </a:p>
      </dgm:t>
    </dgm:pt>
    <dgm:pt modelId="{DF41DD32-920B-4184-B591-C0A4A6EF9DA1}">
      <dgm:prSet/>
      <dgm:spPr/>
      <dgm:t>
        <a:bodyPr/>
        <a:lstStyle/>
        <a:p>
          <a:r>
            <a:rPr lang="en-US" b="0" i="0" dirty="0">
              <a:solidFill>
                <a:schemeClr val="accent1"/>
              </a:solidFill>
            </a:rPr>
            <a:t>ILPQC Updates</a:t>
          </a:r>
          <a:endParaRPr lang="en-US" dirty="0">
            <a:solidFill>
              <a:schemeClr val="accent1"/>
            </a:solidFill>
          </a:endParaRPr>
        </a:p>
      </dgm:t>
    </dgm:pt>
    <dgm:pt modelId="{EBB1D2FD-1A69-4723-8835-3DAFAA168D8A}" type="parTrans" cxnId="{4E9B247D-3FA7-46EB-B33A-FC052DE5DC39}">
      <dgm:prSet/>
      <dgm:spPr/>
      <dgm:t>
        <a:bodyPr/>
        <a:lstStyle/>
        <a:p>
          <a:endParaRPr lang="en-US"/>
        </a:p>
      </dgm:t>
    </dgm:pt>
    <dgm:pt modelId="{09BFE863-8CB2-48C3-96AF-536653871E6F}" type="sibTrans" cxnId="{4E9B247D-3FA7-46EB-B33A-FC052DE5DC39}">
      <dgm:prSet/>
      <dgm:spPr/>
      <dgm:t>
        <a:bodyPr/>
        <a:lstStyle/>
        <a:p>
          <a:endParaRPr lang="en-US"/>
        </a:p>
      </dgm:t>
    </dgm:pt>
    <dgm:pt modelId="{00F5860B-A1FD-49F4-9393-66F24897660E}">
      <dgm:prSet/>
      <dgm:spPr/>
      <dgm:t>
        <a:bodyPr/>
        <a:lstStyle/>
        <a:p>
          <a:r>
            <a:rPr lang="en-US" b="0" i="0" dirty="0">
              <a:solidFill>
                <a:schemeClr val="accent1"/>
              </a:solidFill>
            </a:rPr>
            <a:t>BE Data Review</a:t>
          </a:r>
          <a:endParaRPr lang="en-US" dirty="0">
            <a:solidFill>
              <a:schemeClr val="accent1"/>
            </a:solidFill>
          </a:endParaRPr>
        </a:p>
      </dgm:t>
    </dgm:pt>
    <dgm:pt modelId="{52FF6C0B-C746-495C-AED5-F5DF6E578DD3}" type="parTrans" cxnId="{E63F510D-C10E-436A-88E6-55510B06BF9A}">
      <dgm:prSet/>
      <dgm:spPr/>
      <dgm:t>
        <a:bodyPr/>
        <a:lstStyle/>
        <a:p>
          <a:endParaRPr lang="en-US"/>
        </a:p>
      </dgm:t>
    </dgm:pt>
    <dgm:pt modelId="{13B0408E-13EC-4039-A4CF-655EB3DB1BC0}" type="sibTrans" cxnId="{E63F510D-C10E-436A-88E6-55510B06BF9A}">
      <dgm:prSet/>
      <dgm:spPr/>
      <dgm:t>
        <a:bodyPr/>
        <a:lstStyle/>
        <a:p>
          <a:endParaRPr lang="en-US"/>
        </a:p>
      </dgm:t>
    </dgm:pt>
    <dgm:pt modelId="{78C897F0-84F2-4F37-AF58-3C0869797016}">
      <dgm:prSet/>
      <dgm:spPr/>
      <dgm:t>
        <a:bodyPr/>
        <a:lstStyle/>
        <a:p>
          <a:r>
            <a:rPr lang="en-US" b="0" i="0" dirty="0">
              <a:solidFill>
                <a:schemeClr val="accent1"/>
              </a:solidFill>
            </a:rPr>
            <a:t>Respectful Care Breakfast Strategy Check-In</a:t>
          </a:r>
          <a:endParaRPr lang="en-US" dirty="0">
            <a:solidFill>
              <a:schemeClr val="accent1"/>
            </a:solidFill>
          </a:endParaRPr>
        </a:p>
      </dgm:t>
    </dgm:pt>
    <dgm:pt modelId="{E542A8FF-6BB1-4E3C-A456-46F75CB8E265}" type="parTrans" cxnId="{57C8FE3F-FAED-4B7C-9125-BE31600B2895}">
      <dgm:prSet/>
      <dgm:spPr/>
      <dgm:t>
        <a:bodyPr/>
        <a:lstStyle/>
        <a:p>
          <a:endParaRPr lang="en-US"/>
        </a:p>
      </dgm:t>
    </dgm:pt>
    <dgm:pt modelId="{B396FBF3-FABE-44C0-915D-DD054B85381A}" type="sibTrans" cxnId="{57C8FE3F-FAED-4B7C-9125-BE31600B2895}">
      <dgm:prSet/>
      <dgm:spPr/>
      <dgm:t>
        <a:bodyPr/>
        <a:lstStyle/>
        <a:p>
          <a:endParaRPr lang="en-US"/>
        </a:p>
      </dgm:t>
    </dgm:pt>
    <dgm:pt modelId="{0B9FD059-FCD0-4C31-A318-BFB23CC82030}">
      <dgm:prSet/>
      <dgm:spPr/>
      <dgm:t>
        <a:bodyPr/>
        <a:lstStyle/>
        <a:p>
          <a:r>
            <a:rPr lang="en-US" b="0" i="0" dirty="0">
              <a:solidFill>
                <a:schemeClr val="accent1"/>
              </a:solidFill>
            </a:rPr>
            <a:t>Respectful Care Practices and PREM </a:t>
          </a:r>
          <a:endParaRPr lang="en-US" dirty="0">
            <a:solidFill>
              <a:schemeClr val="accent1"/>
            </a:solidFill>
          </a:endParaRPr>
        </a:p>
      </dgm:t>
    </dgm:pt>
    <dgm:pt modelId="{AD8BB00C-75A6-46CD-8DC9-1BE952FC065D}" type="parTrans" cxnId="{79192A4C-304C-427E-BE55-2969AB75C9D5}">
      <dgm:prSet/>
      <dgm:spPr/>
      <dgm:t>
        <a:bodyPr/>
        <a:lstStyle/>
        <a:p>
          <a:endParaRPr lang="en-US"/>
        </a:p>
      </dgm:t>
    </dgm:pt>
    <dgm:pt modelId="{8484E235-636E-4289-BAD8-18EC11B85E62}" type="sibTrans" cxnId="{79192A4C-304C-427E-BE55-2969AB75C9D5}">
      <dgm:prSet/>
      <dgm:spPr/>
      <dgm:t>
        <a:bodyPr/>
        <a:lstStyle/>
        <a:p>
          <a:endParaRPr lang="en-US"/>
        </a:p>
      </dgm:t>
    </dgm:pt>
    <dgm:pt modelId="{EB8AEE67-820C-4DBB-98BB-904609B47860}">
      <dgm:prSet/>
      <dgm:spPr/>
      <dgm:t>
        <a:bodyPr/>
        <a:lstStyle/>
        <a:p>
          <a:r>
            <a:rPr lang="en-US" b="0" i="0" dirty="0">
              <a:solidFill>
                <a:schemeClr val="accent1"/>
              </a:solidFill>
            </a:rPr>
            <a:t>How-To: Review PREM Survey Reports in </a:t>
          </a:r>
          <a:r>
            <a:rPr lang="en-US" b="0" i="0" dirty="0" err="1">
              <a:solidFill>
                <a:schemeClr val="accent1"/>
              </a:solidFill>
            </a:rPr>
            <a:t>REDCap</a:t>
          </a:r>
          <a:endParaRPr lang="en-US" dirty="0">
            <a:solidFill>
              <a:schemeClr val="accent1"/>
            </a:solidFill>
          </a:endParaRPr>
        </a:p>
      </dgm:t>
    </dgm:pt>
    <dgm:pt modelId="{4259115B-D8DB-4C81-97CD-F0E0EA558558}" type="parTrans" cxnId="{28A9727A-769B-4010-813B-363E51FB8CD7}">
      <dgm:prSet/>
      <dgm:spPr/>
      <dgm:t>
        <a:bodyPr/>
        <a:lstStyle/>
        <a:p>
          <a:endParaRPr lang="en-US"/>
        </a:p>
      </dgm:t>
    </dgm:pt>
    <dgm:pt modelId="{EFDBA7F8-23DA-460D-B572-5730D22C2C93}" type="sibTrans" cxnId="{28A9727A-769B-4010-813B-363E51FB8CD7}">
      <dgm:prSet/>
      <dgm:spPr/>
      <dgm:t>
        <a:bodyPr/>
        <a:lstStyle/>
        <a:p>
          <a:endParaRPr lang="en-US"/>
        </a:p>
      </dgm:t>
    </dgm:pt>
    <dgm:pt modelId="{A330C9E7-9AFD-4661-B524-3169F3351E45}">
      <dgm:prSet/>
      <dgm:spPr/>
      <dgm:t>
        <a:bodyPr/>
        <a:lstStyle/>
        <a:p>
          <a:r>
            <a:rPr lang="en-US" b="0" i="0" dirty="0">
              <a:solidFill>
                <a:schemeClr val="accent1"/>
              </a:solidFill>
            </a:rPr>
            <a:t>Team Talk: Swedish American Hospital</a:t>
          </a:r>
          <a:endParaRPr lang="en-US" dirty="0">
            <a:solidFill>
              <a:schemeClr val="accent1"/>
            </a:solidFill>
          </a:endParaRPr>
        </a:p>
      </dgm:t>
    </dgm:pt>
    <dgm:pt modelId="{35525BE5-B067-4B1B-898E-968869FF1C93}" type="parTrans" cxnId="{A18D19C3-BE36-4A04-A7B9-6785238516E2}">
      <dgm:prSet/>
      <dgm:spPr/>
      <dgm:t>
        <a:bodyPr/>
        <a:lstStyle/>
        <a:p>
          <a:endParaRPr lang="en-US"/>
        </a:p>
      </dgm:t>
    </dgm:pt>
    <dgm:pt modelId="{FC8CA224-9000-4884-98F2-8BE555B499B7}" type="sibTrans" cxnId="{A18D19C3-BE36-4A04-A7B9-6785238516E2}">
      <dgm:prSet/>
      <dgm:spPr/>
      <dgm:t>
        <a:bodyPr/>
        <a:lstStyle/>
        <a:p>
          <a:endParaRPr lang="en-US"/>
        </a:p>
      </dgm:t>
    </dgm:pt>
    <dgm:pt modelId="{42D323A0-6A1D-4CFC-B42B-09F20FEF11DD}">
      <dgm:prSet/>
      <dgm:spPr/>
      <dgm:t>
        <a:bodyPr/>
        <a:lstStyle/>
        <a:p>
          <a:r>
            <a:rPr lang="en-US" b="0" i="0" dirty="0">
              <a:solidFill>
                <a:schemeClr val="accent1"/>
              </a:solidFill>
            </a:rPr>
            <a:t>Team Talk: Advocate Illinois Masonic Medical Center</a:t>
          </a:r>
          <a:endParaRPr lang="en-US" dirty="0">
            <a:solidFill>
              <a:schemeClr val="accent1"/>
            </a:solidFill>
          </a:endParaRPr>
        </a:p>
      </dgm:t>
    </dgm:pt>
    <dgm:pt modelId="{40C3DA5F-6365-4612-8730-FDC2B136A1EE}" type="parTrans" cxnId="{80F7DA3C-B25A-476C-A175-499BA2E43BE7}">
      <dgm:prSet/>
      <dgm:spPr/>
      <dgm:t>
        <a:bodyPr/>
        <a:lstStyle/>
        <a:p>
          <a:endParaRPr lang="en-US"/>
        </a:p>
      </dgm:t>
    </dgm:pt>
    <dgm:pt modelId="{E72A6FD8-90E4-42F9-B98A-40DCCE07FB75}" type="sibTrans" cxnId="{80F7DA3C-B25A-476C-A175-499BA2E43BE7}">
      <dgm:prSet/>
      <dgm:spPr/>
      <dgm:t>
        <a:bodyPr/>
        <a:lstStyle/>
        <a:p>
          <a:endParaRPr lang="en-US"/>
        </a:p>
      </dgm:t>
    </dgm:pt>
    <dgm:pt modelId="{AB9738FE-418D-4CF0-BA32-20270F78456E}">
      <dgm:prSet/>
      <dgm:spPr/>
      <dgm:t>
        <a:bodyPr/>
        <a:lstStyle/>
        <a:p>
          <a:r>
            <a:rPr lang="en-US" b="0" i="0" dirty="0">
              <a:solidFill>
                <a:schemeClr val="accent1"/>
              </a:solidFill>
            </a:rPr>
            <a:t>Educational Opportunities &amp; Resources</a:t>
          </a:r>
          <a:endParaRPr lang="en-US" dirty="0">
            <a:solidFill>
              <a:schemeClr val="accent1"/>
            </a:solidFill>
          </a:endParaRPr>
        </a:p>
      </dgm:t>
    </dgm:pt>
    <dgm:pt modelId="{C7D91647-8C3D-4760-A0B9-23F9C4B4877A}" type="parTrans" cxnId="{E5AB2E39-B1D9-4BAF-8FC3-A127ECF13845}">
      <dgm:prSet/>
      <dgm:spPr/>
      <dgm:t>
        <a:bodyPr/>
        <a:lstStyle/>
        <a:p>
          <a:endParaRPr lang="en-US"/>
        </a:p>
      </dgm:t>
    </dgm:pt>
    <dgm:pt modelId="{554AB8D3-E718-4208-A68F-F396426A4F8C}" type="sibTrans" cxnId="{E5AB2E39-B1D9-4BAF-8FC3-A127ECF13845}">
      <dgm:prSet/>
      <dgm:spPr/>
      <dgm:t>
        <a:bodyPr/>
        <a:lstStyle/>
        <a:p>
          <a:endParaRPr lang="en-US"/>
        </a:p>
      </dgm:t>
    </dgm:pt>
    <dgm:pt modelId="{A023234C-F73B-4099-A707-12482E48FB3B}">
      <dgm:prSet phldr="0"/>
      <dgm:spPr/>
      <dgm:t>
        <a:bodyPr/>
        <a:lstStyle/>
        <a:p>
          <a:pPr rtl="0"/>
          <a:r>
            <a:rPr lang="en-US" b="0" i="0">
              <a:solidFill>
                <a:schemeClr val="accent1"/>
              </a:solidFill>
              <a:latin typeface="Calibri" panose="020F0502020204030204"/>
            </a:rPr>
            <a:t>Resources to Improve Respectful Care</a:t>
          </a:r>
          <a:endParaRPr lang="en-US" dirty="0">
            <a:solidFill>
              <a:schemeClr val="accent1"/>
            </a:solidFill>
          </a:endParaRPr>
        </a:p>
      </dgm:t>
    </dgm:pt>
    <dgm:pt modelId="{18D6BC45-9584-4108-8556-72868418CF63}" type="parTrans" cxnId="{C84B095B-7216-4F86-BD02-CC3F5435667A}">
      <dgm:prSet/>
      <dgm:spPr/>
    </dgm:pt>
    <dgm:pt modelId="{9334E791-7C44-484B-AC8F-C39B54E9A37C}" type="sibTrans" cxnId="{C84B095B-7216-4F86-BD02-CC3F5435667A}">
      <dgm:prSet/>
      <dgm:spPr/>
    </dgm:pt>
    <dgm:pt modelId="{C3405426-3A51-4B3B-A74E-99A76A7E2299}" type="pres">
      <dgm:prSet presAssocID="{A675C071-9FFB-4F2C-9FCE-A936E4242794}" presName="linear" presStyleCnt="0">
        <dgm:presLayoutVars>
          <dgm:animLvl val="lvl"/>
          <dgm:resizeHandles val="exact"/>
        </dgm:presLayoutVars>
      </dgm:prSet>
      <dgm:spPr/>
    </dgm:pt>
    <dgm:pt modelId="{DD043B88-532F-455D-A1DD-A6D4D6CD727C}" type="pres">
      <dgm:prSet presAssocID="{DF41DD32-920B-4184-B591-C0A4A6EF9DA1}" presName="parentText" presStyleLbl="node1" presStyleIdx="0" presStyleCnt="9">
        <dgm:presLayoutVars>
          <dgm:chMax val="0"/>
          <dgm:bulletEnabled val="1"/>
        </dgm:presLayoutVars>
      </dgm:prSet>
      <dgm:spPr/>
    </dgm:pt>
    <dgm:pt modelId="{F4039C09-C82D-4451-BB1C-DC80E56F3393}" type="pres">
      <dgm:prSet presAssocID="{09BFE863-8CB2-48C3-96AF-536653871E6F}" presName="spacer" presStyleCnt="0"/>
      <dgm:spPr/>
    </dgm:pt>
    <dgm:pt modelId="{CF8A7B59-2420-48FA-A336-38390FC91955}" type="pres">
      <dgm:prSet presAssocID="{00F5860B-A1FD-49F4-9393-66F24897660E}" presName="parentText" presStyleLbl="node1" presStyleIdx="1" presStyleCnt="9">
        <dgm:presLayoutVars>
          <dgm:chMax val="0"/>
          <dgm:bulletEnabled val="1"/>
        </dgm:presLayoutVars>
      </dgm:prSet>
      <dgm:spPr/>
    </dgm:pt>
    <dgm:pt modelId="{1DA1AB40-3061-4E01-AC86-F7A19F1CCAF2}" type="pres">
      <dgm:prSet presAssocID="{13B0408E-13EC-4039-A4CF-655EB3DB1BC0}" presName="spacer" presStyleCnt="0"/>
      <dgm:spPr/>
    </dgm:pt>
    <dgm:pt modelId="{CB539469-627B-4D8B-8E95-1F6471FD1F8F}" type="pres">
      <dgm:prSet presAssocID="{78C897F0-84F2-4F37-AF58-3C0869797016}" presName="parentText" presStyleLbl="node1" presStyleIdx="2" presStyleCnt="9">
        <dgm:presLayoutVars>
          <dgm:chMax val="0"/>
          <dgm:bulletEnabled val="1"/>
        </dgm:presLayoutVars>
      </dgm:prSet>
      <dgm:spPr/>
    </dgm:pt>
    <dgm:pt modelId="{46269106-37AA-47FF-9036-E75DAA877480}" type="pres">
      <dgm:prSet presAssocID="{B396FBF3-FABE-44C0-915D-DD054B85381A}" presName="spacer" presStyleCnt="0"/>
      <dgm:spPr/>
    </dgm:pt>
    <dgm:pt modelId="{0BA5D6AA-02E3-4BA4-8262-9C07D795F35C}" type="pres">
      <dgm:prSet presAssocID="{0B9FD059-FCD0-4C31-A318-BFB23CC82030}" presName="parentText" presStyleLbl="node1" presStyleIdx="3" presStyleCnt="9">
        <dgm:presLayoutVars>
          <dgm:chMax val="0"/>
          <dgm:bulletEnabled val="1"/>
        </dgm:presLayoutVars>
      </dgm:prSet>
      <dgm:spPr/>
    </dgm:pt>
    <dgm:pt modelId="{6CC29541-E78F-4259-8F98-838F87CF34A0}" type="pres">
      <dgm:prSet presAssocID="{8484E235-636E-4289-BAD8-18EC11B85E62}" presName="spacer" presStyleCnt="0"/>
      <dgm:spPr/>
    </dgm:pt>
    <dgm:pt modelId="{61C8DC91-B133-4AB9-A044-FB31F2C8C1F1}" type="pres">
      <dgm:prSet presAssocID="{A023234C-F73B-4099-A707-12482E48FB3B}" presName="parentText" presStyleLbl="node1" presStyleIdx="4" presStyleCnt="9">
        <dgm:presLayoutVars>
          <dgm:chMax val="0"/>
          <dgm:bulletEnabled val="1"/>
        </dgm:presLayoutVars>
      </dgm:prSet>
      <dgm:spPr/>
    </dgm:pt>
    <dgm:pt modelId="{A0DE62C4-920A-496C-BCED-EC063D459CB3}" type="pres">
      <dgm:prSet presAssocID="{9334E791-7C44-484B-AC8F-C39B54E9A37C}" presName="spacer" presStyleCnt="0"/>
      <dgm:spPr/>
    </dgm:pt>
    <dgm:pt modelId="{507C2C84-A3BE-47C2-A886-92D5E4B61FBC}" type="pres">
      <dgm:prSet presAssocID="{EB8AEE67-820C-4DBB-98BB-904609B47860}" presName="parentText" presStyleLbl="node1" presStyleIdx="5" presStyleCnt="9">
        <dgm:presLayoutVars>
          <dgm:chMax val="0"/>
          <dgm:bulletEnabled val="1"/>
        </dgm:presLayoutVars>
      </dgm:prSet>
      <dgm:spPr/>
    </dgm:pt>
    <dgm:pt modelId="{99A60C19-9177-4E85-BF8E-8A9D76DE4A6C}" type="pres">
      <dgm:prSet presAssocID="{EFDBA7F8-23DA-460D-B572-5730D22C2C93}" presName="spacer" presStyleCnt="0"/>
      <dgm:spPr/>
    </dgm:pt>
    <dgm:pt modelId="{66B3503B-8DC6-470F-9D87-47C5EA0B601B}" type="pres">
      <dgm:prSet presAssocID="{A330C9E7-9AFD-4661-B524-3169F3351E45}" presName="parentText" presStyleLbl="node1" presStyleIdx="6" presStyleCnt="9">
        <dgm:presLayoutVars>
          <dgm:chMax val="0"/>
          <dgm:bulletEnabled val="1"/>
        </dgm:presLayoutVars>
      </dgm:prSet>
      <dgm:spPr/>
    </dgm:pt>
    <dgm:pt modelId="{1EB02A13-89C9-4C66-A129-3AA5E7C6A0D6}" type="pres">
      <dgm:prSet presAssocID="{FC8CA224-9000-4884-98F2-8BE555B499B7}" presName="spacer" presStyleCnt="0"/>
      <dgm:spPr/>
    </dgm:pt>
    <dgm:pt modelId="{8221AC8E-F8D3-4AA2-8CFE-7CF52D6DA976}" type="pres">
      <dgm:prSet presAssocID="{42D323A0-6A1D-4CFC-B42B-09F20FEF11DD}" presName="parentText" presStyleLbl="node1" presStyleIdx="7" presStyleCnt="9">
        <dgm:presLayoutVars>
          <dgm:chMax val="0"/>
          <dgm:bulletEnabled val="1"/>
        </dgm:presLayoutVars>
      </dgm:prSet>
      <dgm:spPr/>
    </dgm:pt>
    <dgm:pt modelId="{A999287C-9272-4679-8247-ACB3B5D8865C}" type="pres">
      <dgm:prSet presAssocID="{E72A6FD8-90E4-42F9-B98A-40DCCE07FB75}" presName="spacer" presStyleCnt="0"/>
      <dgm:spPr/>
    </dgm:pt>
    <dgm:pt modelId="{1643AD65-70DC-4CDF-BC64-E36EFE81F523}" type="pres">
      <dgm:prSet presAssocID="{AB9738FE-418D-4CF0-BA32-20270F78456E}" presName="parentText" presStyleLbl="node1" presStyleIdx="8" presStyleCnt="9">
        <dgm:presLayoutVars>
          <dgm:chMax val="0"/>
          <dgm:bulletEnabled val="1"/>
        </dgm:presLayoutVars>
      </dgm:prSet>
      <dgm:spPr/>
    </dgm:pt>
  </dgm:ptLst>
  <dgm:cxnLst>
    <dgm:cxn modelId="{E63F510D-C10E-436A-88E6-55510B06BF9A}" srcId="{A675C071-9FFB-4F2C-9FCE-A936E4242794}" destId="{00F5860B-A1FD-49F4-9393-66F24897660E}" srcOrd="1" destOrd="0" parTransId="{52FF6C0B-C746-495C-AED5-F5DF6E578DD3}" sibTransId="{13B0408E-13EC-4039-A4CF-655EB3DB1BC0}"/>
    <dgm:cxn modelId="{D825001F-F1CD-44FA-AFEC-620A758D4B35}" type="presOf" srcId="{A023234C-F73B-4099-A707-12482E48FB3B}" destId="{61C8DC91-B133-4AB9-A044-FB31F2C8C1F1}" srcOrd="0" destOrd="0" presId="urn:microsoft.com/office/officeart/2005/8/layout/vList2"/>
    <dgm:cxn modelId="{D9505A2C-61F8-4ACD-A757-846E107A332B}" type="presOf" srcId="{EB8AEE67-820C-4DBB-98BB-904609B47860}" destId="{507C2C84-A3BE-47C2-A886-92D5E4B61FBC}" srcOrd="0" destOrd="0" presId="urn:microsoft.com/office/officeart/2005/8/layout/vList2"/>
    <dgm:cxn modelId="{E5AB2E39-B1D9-4BAF-8FC3-A127ECF13845}" srcId="{A675C071-9FFB-4F2C-9FCE-A936E4242794}" destId="{AB9738FE-418D-4CF0-BA32-20270F78456E}" srcOrd="8" destOrd="0" parTransId="{C7D91647-8C3D-4760-A0B9-23F9C4B4877A}" sibTransId="{554AB8D3-E718-4208-A68F-F396426A4F8C}"/>
    <dgm:cxn modelId="{80F7DA3C-B25A-476C-A175-499BA2E43BE7}" srcId="{A675C071-9FFB-4F2C-9FCE-A936E4242794}" destId="{42D323A0-6A1D-4CFC-B42B-09F20FEF11DD}" srcOrd="7" destOrd="0" parTransId="{40C3DA5F-6365-4612-8730-FDC2B136A1EE}" sibTransId="{E72A6FD8-90E4-42F9-B98A-40DCCE07FB75}"/>
    <dgm:cxn modelId="{57C8FE3F-FAED-4B7C-9125-BE31600B2895}" srcId="{A675C071-9FFB-4F2C-9FCE-A936E4242794}" destId="{78C897F0-84F2-4F37-AF58-3C0869797016}" srcOrd="2" destOrd="0" parTransId="{E542A8FF-6BB1-4E3C-A456-46F75CB8E265}" sibTransId="{B396FBF3-FABE-44C0-915D-DD054B85381A}"/>
    <dgm:cxn modelId="{C84B095B-7216-4F86-BD02-CC3F5435667A}" srcId="{A675C071-9FFB-4F2C-9FCE-A936E4242794}" destId="{A023234C-F73B-4099-A707-12482E48FB3B}" srcOrd="4" destOrd="0" parTransId="{18D6BC45-9584-4108-8556-72868418CF63}" sibTransId="{9334E791-7C44-484B-AC8F-C39B54E9A37C}"/>
    <dgm:cxn modelId="{4F03315D-5707-4D41-9AC7-DE0552C3F43D}" type="presOf" srcId="{A675C071-9FFB-4F2C-9FCE-A936E4242794}" destId="{C3405426-3A51-4B3B-A74E-99A76A7E2299}" srcOrd="0" destOrd="0" presId="urn:microsoft.com/office/officeart/2005/8/layout/vList2"/>
    <dgm:cxn modelId="{3FF87C44-54C2-4CBA-811F-8A08D35AAF94}" type="presOf" srcId="{DF41DD32-920B-4184-B591-C0A4A6EF9DA1}" destId="{DD043B88-532F-455D-A1DD-A6D4D6CD727C}" srcOrd="0" destOrd="0" presId="urn:microsoft.com/office/officeart/2005/8/layout/vList2"/>
    <dgm:cxn modelId="{8203D265-ECDA-450C-A175-F685A7E5C2C5}" type="presOf" srcId="{AB9738FE-418D-4CF0-BA32-20270F78456E}" destId="{1643AD65-70DC-4CDF-BC64-E36EFE81F523}" srcOrd="0" destOrd="0" presId="urn:microsoft.com/office/officeart/2005/8/layout/vList2"/>
    <dgm:cxn modelId="{EBA10468-5568-48F9-941D-B2C1F1660BFE}" type="presOf" srcId="{42D323A0-6A1D-4CFC-B42B-09F20FEF11DD}" destId="{8221AC8E-F8D3-4AA2-8CFE-7CF52D6DA976}" srcOrd="0" destOrd="0" presId="urn:microsoft.com/office/officeart/2005/8/layout/vList2"/>
    <dgm:cxn modelId="{79192A4C-304C-427E-BE55-2969AB75C9D5}" srcId="{A675C071-9FFB-4F2C-9FCE-A936E4242794}" destId="{0B9FD059-FCD0-4C31-A318-BFB23CC82030}" srcOrd="3" destOrd="0" parTransId="{AD8BB00C-75A6-46CD-8DC9-1BE952FC065D}" sibTransId="{8484E235-636E-4289-BAD8-18EC11B85E62}"/>
    <dgm:cxn modelId="{28A9727A-769B-4010-813B-363E51FB8CD7}" srcId="{A675C071-9FFB-4F2C-9FCE-A936E4242794}" destId="{EB8AEE67-820C-4DBB-98BB-904609B47860}" srcOrd="5" destOrd="0" parTransId="{4259115B-D8DB-4C81-97CD-F0E0EA558558}" sibTransId="{EFDBA7F8-23DA-460D-B572-5730D22C2C93}"/>
    <dgm:cxn modelId="{4E9B247D-3FA7-46EB-B33A-FC052DE5DC39}" srcId="{A675C071-9FFB-4F2C-9FCE-A936E4242794}" destId="{DF41DD32-920B-4184-B591-C0A4A6EF9DA1}" srcOrd="0" destOrd="0" parTransId="{EBB1D2FD-1A69-4723-8835-3DAFAA168D8A}" sibTransId="{09BFE863-8CB2-48C3-96AF-536653871E6F}"/>
    <dgm:cxn modelId="{06B9B38D-A8E3-404A-8DD7-AAFD1E99D73A}" type="presOf" srcId="{0B9FD059-FCD0-4C31-A318-BFB23CC82030}" destId="{0BA5D6AA-02E3-4BA4-8262-9C07D795F35C}" srcOrd="0" destOrd="0" presId="urn:microsoft.com/office/officeart/2005/8/layout/vList2"/>
    <dgm:cxn modelId="{012AC899-37A4-4F21-B005-C3B88B4BB9F8}" type="presOf" srcId="{78C897F0-84F2-4F37-AF58-3C0869797016}" destId="{CB539469-627B-4D8B-8E95-1F6471FD1F8F}" srcOrd="0" destOrd="0" presId="urn:microsoft.com/office/officeart/2005/8/layout/vList2"/>
    <dgm:cxn modelId="{B03D1CA4-E2BD-4AE2-AB89-83689AF22F23}" type="presOf" srcId="{A330C9E7-9AFD-4661-B524-3169F3351E45}" destId="{66B3503B-8DC6-470F-9D87-47C5EA0B601B}" srcOrd="0" destOrd="0" presId="urn:microsoft.com/office/officeart/2005/8/layout/vList2"/>
    <dgm:cxn modelId="{A18D19C3-BE36-4A04-A7B9-6785238516E2}" srcId="{A675C071-9FFB-4F2C-9FCE-A936E4242794}" destId="{A330C9E7-9AFD-4661-B524-3169F3351E45}" srcOrd="6" destOrd="0" parTransId="{35525BE5-B067-4B1B-898E-968869FF1C93}" sibTransId="{FC8CA224-9000-4884-98F2-8BE555B499B7}"/>
    <dgm:cxn modelId="{3497FADD-38C6-44A3-BFBA-ADA6EEB7E08C}" type="presOf" srcId="{00F5860B-A1FD-49F4-9393-66F24897660E}" destId="{CF8A7B59-2420-48FA-A336-38390FC91955}" srcOrd="0" destOrd="0" presId="urn:microsoft.com/office/officeart/2005/8/layout/vList2"/>
    <dgm:cxn modelId="{6BE2BDC2-4826-4500-9C47-53360C1DFEED}" type="presParOf" srcId="{C3405426-3A51-4B3B-A74E-99A76A7E2299}" destId="{DD043B88-532F-455D-A1DD-A6D4D6CD727C}" srcOrd="0" destOrd="0" presId="urn:microsoft.com/office/officeart/2005/8/layout/vList2"/>
    <dgm:cxn modelId="{D06226BE-F9CB-41E6-B315-DDADAE82ABF4}" type="presParOf" srcId="{C3405426-3A51-4B3B-A74E-99A76A7E2299}" destId="{F4039C09-C82D-4451-BB1C-DC80E56F3393}" srcOrd="1" destOrd="0" presId="urn:microsoft.com/office/officeart/2005/8/layout/vList2"/>
    <dgm:cxn modelId="{95D086B9-FAB4-44E6-B7B0-3ACC6277F38B}" type="presParOf" srcId="{C3405426-3A51-4B3B-A74E-99A76A7E2299}" destId="{CF8A7B59-2420-48FA-A336-38390FC91955}" srcOrd="2" destOrd="0" presId="urn:microsoft.com/office/officeart/2005/8/layout/vList2"/>
    <dgm:cxn modelId="{983174A2-0E91-4069-A87D-7D4F489E3E84}" type="presParOf" srcId="{C3405426-3A51-4B3B-A74E-99A76A7E2299}" destId="{1DA1AB40-3061-4E01-AC86-F7A19F1CCAF2}" srcOrd="3" destOrd="0" presId="urn:microsoft.com/office/officeart/2005/8/layout/vList2"/>
    <dgm:cxn modelId="{2DF04AE3-6B5C-4B9C-BEB9-B77087EE53A7}" type="presParOf" srcId="{C3405426-3A51-4B3B-A74E-99A76A7E2299}" destId="{CB539469-627B-4D8B-8E95-1F6471FD1F8F}" srcOrd="4" destOrd="0" presId="urn:microsoft.com/office/officeart/2005/8/layout/vList2"/>
    <dgm:cxn modelId="{FEB0C899-863B-49D0-B833-7CFE133721E4}" type="presParOf" srcId="{C3405426-3A51-4B3B-A74E-99A76A7E2299}" destId="{46269106-37AA-47FF-9036-E75DAA877480}" srcOrd="5" destOrd="0" presId="urn:microsoft.com/office/officeart/2005/8/layout/vList2"/>
    <dgm:cxn modelId="{D6FE065D-94AD-4D96-A354-54712B09F809}" type="presParOf" srcId="{C3405426-3A51-4B3B-A74E-99A76A7E2299}" destId="{0BA5D6AA-02E3-4BA4-8262-9C07D795F35C}" srcOrd="6" destOrd="0" presId="urn:microsoft.com/office/officeart/2005/8/layout/vList2"/>
    <dgm:cxn modelId="{827DEFD8-EF5A-4D62-A850-2E435AF7BDE0}" type="presParOf" srcId="{C3405426-3A51-4B3B-A74E-99A76A7E2299}" destId="{6CC29541-E78F-4259-8F98-838F87CF34A0}" srcOrd="7" destOrd="0" presId="urn:microsoft.com/office/officeart/2005/8/layout/vList2"/>
    <dgm:cxn modelId="{B7506E53-592F-459A-9771-D5A2E991208C}" type="presParOf" srcId="{C3405426-3A51-4B3B-A74E-99A76A7E2299}" destId="{61C8DC91-B133-4AB9-A044-FB31F2C8C1F1}" srcOrd="8" destOrd="0" presId="urn:microsoft.com/office/officeart/2005/8/layout/vList2"/>
    <dgm:cxn modelId="{EBF62FB6-FDF2-4570-81FB-5B4CDB599ADF}" type="presParOf" srcId="{C3405426-3A51-4B3B-A74E-99A76A7E2299}" destId="{A0DE62C4-920A-496C-BCED-EC063D459CB3}" srcOrd="9" destOrd="0" presId="urn:microsoft.com/office/officeart/2005/8/layout/vList2"/>
    <dgm:cxn modelId="{84AAD2B9-73C2-4005-A0AF-2E3A2D698DA2}" type="presParOf" srcId="{C3405426-3A51-4B3B-A74E-99A76A7E2299}" destId="{507C2C84-A3BE-47C2-A886-92D5E4B61FBC}" srcOrd="10" destOrd="0" presId="urn:microsoft.com/office/officeart/2005/8/layout/vList2"/>
    <dgm:cxn modelId="{D9715F1D-A6A4-456F-83C7-17363EBF4871}" type="presParOf" srcId="{C3405426-3A51-4B3B-A74E-99A76A7E2299}" destId="{99A60C19-9177-4E85-BF8E-8A9D76DE4A6C}" srcOrd="11" destOrd="0" presId="urn:microsoft.com/office/officeart/2005/8/layout/vList2"/>
    <dgm:cxn modelId="{1BC28F45-2508-4968-A5A9-B935D11C708C}" type="presParOf" srcId="{C3405426-3A51-4B3B-A74E-99A76A7E2299}" destId="{66B3503B-8DC6-470F-9D87-47C5EA0B601B}" srcOrd="12" destOrd="0" presId="urn:microsoft.com/office/officeart/2005/8/layout/vList2"/>
    <dgm:cxn modelId="{FFBE7DA1-5F56-4DF1-8A7D-B06145EEA045}" type="presParOf" srcId="{C3405426-3A51-4B3B-A74E-99A76A7E2299}" destId="{1EB02A13-89C9-4C66-A129-3AA5E7C6A0D6}" srcOrd="13" destOrd="0" presId="urn:microsoft.com/office/officeart/2005/8/layout/vList2"/>
    <dgm:cxn modelId="{005BAA72-9CA0-4190-B58A-F310705AF032}" type="presParOf" srcId="{C3405426-3A51-4B3B-A74E-99A76A7E2299}" destId="{8221AC8E-F8D3-4AA2-8CFE-7CF52D6DA976}" srcOrd="14" destOrd="0" presId="urn:microsoft.com/office/officeart/2005/8/layout/vList2"/>
    <dgm:cxn modelId="{704A2AD0-BE0F-40C0-B979-6C5DD70F124C}" type="presParOf" srcId="{C3405426-3A51-4B3B-A74E-99A76A7E2299}" destId="{A999287C-9272-4679-8247-ACB3B5D8865C}" srcOrd="15" destOrd="0" presId="urn:microsoft.com/office/officeart/2005/8/layout/vList2"/>
    <dgm:cxn modelId="{173E164F-93B2-4BDC-815F-742A304A3F04}" type="presParOf" srcId="{C3405426-3A51-4B3B-A74E-99A76A7E2299}" destId="{1643AD65-70DC-4CDF-BC64-E36EFE81F523}" srcOrd="1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5AC2474-A56B-4861-89B9-02E8203F2F9B}" type="doc">
      <dgm:prSet loTypeId="urn:microsoft.com/office/officeart/2018/5/layout/IconCircleLabelList" loCatId="icon" qsTypeId="urn:microsoft.com/office/officeart/2005/8/quickstyle/simple1" qsCatId="simple" csTypeId="urn:microsoft.com/office/officeart/2005/8/colors/accent3_2" csCatId="accent3" phldr="1"/>
      <dgm:spPr/>
      <dgm:t>
        <a:bodyPr/>
        <a:lstStyle/>
        <a:p>
          <a:endParaRPr lang="en-US"/>
        </a:p>
      </dgm:t>
    </dgm:pt>
    <dgm:pt modelId="{962F8B71-C816-4489-8E4F-E018E142546D}">
      <dgm:prSet/>
      <dgm:spPr/>
      <dgm:t>
        <a:bodyPr/>
        <a:lstStyle/>
        <a:p>
          <a:pPr>
            <a:lnSpc>
              <a:spcPct val="100000"/>
            </a:lnSpc>
            <a:defRPr cap="all"/>
          </a:pPr>
          <a:r>
            <a:rPr lang="en-US"/>
            <a:t>continuation phase of survey</a:t>
          </a:r>
        </a:p>
      </dgm:t>
    </dgm:pt>
    <dgm:pt modelId="{0C22E6AA-6C8E-482F-A5C9-B2F95D6B97E2}" type="parTrans" cxnId="{8A1356F6-785E-4366-8927-8B7B43F66C0F}">
      <dgm:prSet/>
      <dgm:spPr/>
      <dgm:t>
        <a:bodyPr/>
        <a:lstStyle/>
        <a:p>
          <a:endParaRPr lang="en-US"/>
        </a:p>
      </dgm:t>
    </dgm:pt>
    <dgm:pt modelId="{C8E49C63-71B8-4042-B8D5-C6BB12C4F52E}" type="sibTrans" cxnId="{8A1356F6-785E-4366-8927-8B7B43F66C0F}">
      <dgm:prSet/>
      <dgm:spPr/>
      <dgm:t>
        <a:bodyPr/>
        <a:lstStyle/>
        <a:p>
          <a:endParaRPr lang="en-US"/>
        </a:p>
      </dgm:t>
    </dgm:pt>
    <dgm:pt modelId="{6943EA71-01F3-4286-87F1-F7FAAA5C8A04}">
      <dgm:prSet/>
      <dgm:spPr/>
      <dgm:t>
        <a:bodyPr/>
        <a:lstStyle/>
        <a:p>
          <a:pPr>
            <a:lnSpc>
              <a:spcPct val="100000"/>
            </a:lnSpc>
            <a:defRPr cap="all"/>
          </a:pPr>
          <a:r>
            <a:rPr lang="en-US"/>
            <a:t>Maintain buy in</a:t>
          </a:r>
        </a:p>
      </dgm:t>
    </dgm:pt>
    <dgm:pt modelId="{2D3007B6-7BCA-4976-A90E-D5AD49A149C1}" type="parTrans" cxnId="{F5872747-C3F4-4353-96ED-64459D25FF0E}">
      <dgm:prSet/>
      <dgm:spPr/>
      <dgm:t>
        <a:bodyPr/>
        <a:lstStyle/>
        <a:p>
          <a:endParaRPr lang="en-US"/>
        </a:p>
      </dgm:t>
    </dgm:pt>
    <dgm:pt modelId="{C4C1F08F-5F89-43CB-BCC9-CC88921C00C8}" type="sibTrans" cxnId="{F5872747-C3F4-4353-96ED-64459D25FF0E}">
      <dgm:prSet/>
      <dgm:spPr/>
      <dgm:t>
        <a:bodyPr/>
        <a:lstStyle/>
        <a:p>
          <a:endParaRPr lang="en-US"/>
        </a:p>
      </dgm:t>
    </dgm:pt>
    <dgm:pt modelId="{464863C0-161F-4F86-B4D8-27E3FE04B8CD}">
      <dgm:prSet/>
      <dgm:spPr/>
      <dgm:t>
        <a:bodyPr/>
        <a:lstStyle/>
        <a:p>
          <a:pPr>
            <a:lnSpc>
              <a:spcPct val="100000"/>
            </a:lnSpc>
            <a:defRPr cap="all"/>
          </a:pPr>
          <a:r>
            <a:rPr lang="en-US"/>
            <a:t>Share results with staff</a:t>
          </a:r>
        </a:p>
      </dgm:t>
    </dgm:pt>
    <dgm:pt modelId="{3D6FCAE3-2DFD-447A-A23C-2E71AC2F820E}" type="parTrans" cxnId="{548DCD2A-C7E7-4875-898C-1A3116D40256}">
      <dgm:prSet/>
      <dgm:spPr/>
      <dgm:t>
        <a:bodyPr/>
        <a:lstStyle/>
        <a:p>
          <a:endParaRPr lang="en-US"/>
        </a:p>
      </dgm:t>
    </dgm:pt>
    <dgm:pt modelId="{3B5A69F8-444C-4B44-A1C4-064ED095DC28}" type="sibTrans" cxnId="{548DCD2A-C7E7-4875-898C-1A3116D40256}">
      <dgm:prSet/>
      <dgm:spPr/>
      <dgm:t>
        <a:bodyPr/>
        <a:lstStyle/>
        <a:p>
          <a:endParaRPr lang="en-US"/>
        </a:p>
      </dgm:t>
    </dgm:pt>
    <dgm:pt modelId="{32682401-AEA0-4333-9B51-5F2B2F666C3B}" type="pres">
      <dgm:prSet presAssocID="{05AC2474-A56B-4861-89B9-02E8203F2F9B}" presName="root" presStyleCnt="0">
        <dgm:presLayoutVars>
          <dgm:dir/>
          <dgm:resizeHandles val="exact"/>
        </dgm:presLayoutVars>
      </dgm:prSet>
      <dgm:spPr/>
    </dgm:pt>
    <dgm:pt modelId="{0A3955DE-9BB3-452F-BAF2-0EB11F5B0CB6}" type="pres">
      <dgm:prSet presAssocID="{962F8B71-C816-4489-8E4F-E018E142546D}" presName="compNode" presStyleCnt="0"/>
      <dgm:spPr/>
    </dgm:pt>
    <dgm:pt modelId="{F8238901-8A1E-4352-9FFF-8A877EEC511E}" type="pres">
      <dgm:prSet presAssocID="{962F8B71-C816-4489-8E4F-E018E142546D}" presName="iconBgRect" presStyleLbl="bgShp" presStyleIdx="0" presStyleCnt="3"/>
      <dgm:spPr/>
    </dgm:pt>
    <dgm:pt modelId="{83759627-2B81-4D1D-96B5-12383CA4CA2A}" type="pres">
      <dgm:prSet presAssocID="{962F8B71-C816-4489-8E4F-E018E142546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 List"/>
        </a:ext>
      </dgm:extLst>
    </dgm:pt>
    <dgm:pt modelId="{1D4B5EAE-4DE5-48C8-9F5C-253F9B196275}" type="pres">
      <dgm:prSet presAssocID="{962F8B71-C816-4489-8E4F-E018E142546D}" presName="spaceRect" presStyleCnt="0"/>
      <dgm:spPr/>
    </dgm:pt>
    <dgm:pt modelId="{676AD025-BF91-451D-8DFB-CFA31C8ED67C}" type="pres">
      <dgm:prSet presAssocID="{962F8B71-C816-4489-8E4F-E018E142546D}" presName="textRect" presStyleLbl="revTx" presStyleIdx="0" presStyleCnt="3">
        <dgm:presLayoutVars>
          <dgm:chMax val="1"/>
          <dgm:chPref val="1"/>
        </dgm:presLayoutVars>
      </dgm:prSet>
      <dgm:spPr/>
    </dgm:pt>
    <dgm:pt modelId="{322490D7-1032-4CF6-9094-F5A62F5A34F5}" type="pres">
      <dgm:prSet presAssocID="{C8E49C63-71B8-4042-B8D5-C6BB12C4F52E}" presName="sibTrans" presStyleCnt="0"/>
      <dgm:spPr/>
    </dgm:pt>
    <dgm:pt modelId="{3A803DA9-2368-449A-BBD6-2D13B997067A}" type="pres">
      <dgm:prSet presAssocID="{6943EA71-01F3-4286-87F1-F7FAAA5C8A04}" presName="compNode" presStyleCnt="0"/>
      <dgm:spPr/>
    </dgm:pt>
    <dgm:pt modelId="{CFE6CA9A-B0ED-4FD3-9D53-D3123BB962D1}" type="pres">
      <dgm:prSet presAssocID="{6943EA71-01F3-4286-87F1-F7FAAA5C8A04}" presName="iconBgRect" presStyleLbl="bgShp" presStyleIdx="1" presStyleCnt="3"/>
      <dgm:spPr/>
    </dgm:pt>
    <dgm:pt modelId="{8F598D63-B9DF-477D-A081-0660F52C130F}" type="pres">
      <dgm:prSet presAssocID="{6943EA71-01F3-4286-87F1-F7FAAA5C8A0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hopping cart"/>
        </a:ext>
      </dgm:extLst>
    </dgm:pt>
    <dgm:pt modelId="{FA163D1D-F623-4A08-9CE5-7AD5FACEFB11}" type="pres">
      <dgm:prSet presAssocID="{6943EA71-01F3-4286-87F1-F7FAAA5C8A04}" presName="spaceRect" presStyleCnt="0"/>
      <dgm:spPr/>
    </dgm:pt>
    <dgm:pt modelId="{FE1921AF-2687-4C08-877B-FA5D0C9FB2B8}" type="pres">
      <dgm:prSet presAssocID="{6943EA71-01F3-4286-87F1-F7FAAA5C8A04}" presName="textRect" presStyleLbl="revTx" presStyleIdx="1" presStyleCnt="3">
        <dgm:presLayoutVars>
          <dgm:chMax val="1"/>
          <dgm:chPref val="1"/>
        </dgm:presLayoutVars>
      </dgm:prSet>
      <dgm:spPr/>
    </dgm:pt>
    <dgm:pt modelId="{79669206-52DE-42CF-87FC-36601825A87C}" type="pres">
      <dgm:prSet presAssocID="{C4C1F08F-5F89-43CB-BCC9-CC88921C00C8}" presName="sibTrans" presStyleCnt="0"/>
      <dgm:spPr/>
    </dgm:pt>
    <dgm:pt modelId="{9C5103C9-110D-4343-87A3-3C8135DCB471}" type="pres">
      <dgm:prSet presAssocID="{464863C0-161F-4F86-B4D8-27E3FE04B8CD}" presName="compNode" presStyleCnt="0"/>
      <dgm:spPr/>
    </dgm:pt>
    <dgm:pt modelId="{2BFA9BAA-793D-43AD-9BD3-4C0DD6A61115}" type="pres">
      <dgm:prSet presAssocID="{464863C0-161F-4F86-B4D8-27E3FE04B8CD}" presName="iconBgRect" presStyleLbl="bgShp" presStyleIdx="2" presStyleCnt="3"/>
      <dgm:spPr/>
    </dgm:pt>
    <dgm:pt modelId="{4C417DE6-3988-4721-B526-A7FA9518EADE}" type="pres">
      <dgm:prSet presAssocID="{464863C0-161F-4F86-B4D8-27E3FE04B8CD}"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ar chart"/>
        </a:ext>
      </dgm:extLst>
    </dgm:pt>
    <dgm:pt modelId="{A5AE8FA2-30F2-46EA-9094-82A7771BA8F3}" type="pres">
      <dgm:prSet presAssocID="{464863C0-161F-4F86-B4D8-27E3FE04B8CD}" presName="spaceRect" presStyleCnt="0"/>
      <dgm:spPr/>
    </dgm:pt>
    <dgm:pt modelId="{781214F9-F4B2-4AC3-827F-391C0CD97793}" type="pres">
      <dgm:prSet presAssocID="{464863C0-161F-4F86-B4D8-27E3FE04B8CD}" presName="textRect" presStyleLbl="revTx" presStyleIdx="2" presStyleCnt="3">
        <dgm:presLayoutVars>
          <dgm:chMax val="1"/>
          <dgm:chPref val="1"/>
        </dgm:presLayoutVars>
      </dgm:prSet>
      <dgm:spPr/>
    </dgm:pt>
  </dgm:ptLst>
  <dgm:cxnLst>
    <dgm:cxn modelId="{4CAAA000-1B6C-4B3A-88D6-2B9FC332A18E}" type="presOf" srcId="{962F8B71-C816-4489-8E4F-E018E142546D}" destId="{676AD025-BF91-451D-8DFB-CFA31C8ED67C}" srcOrd="0" destOrd="0" presId="urn:microsoft.com/office/officeart/2018/5/layout/IconCircleLabelList"/>
    <dgm:cxn modelId="{548DCD2A-C7E7-4875-898C-1A3116D40256}" srcId="{05AC2474-A56B-4861-89B9-02E8203F2F9B}" destId="{464863C0-161F-4F86-B4D8-27E3FE04B8CD}" srcOrd="2" destOrd="0" parTransId="{3D6FCAE3-2DFD-447A-A23C-2E71AC2F820E}" sibTransId="{3B5A69F8-444C-4B44-A1C4-064ED095DC28}"/>
    <dgm:cxn modelId="{F5872747-C3F4-4353-96ED-64459D25FF0E}" srcId="{05AC2474-A56B-4861-89B9-02E8203F2F9B}" destId="{6943EA71-01F3-4286-87F1-F7FAAA5C8A04}" srcOrd="1" destOrd="0" parTransId="{2D3007B6-7BCA-4976-A90E-D5AD49A149C1}" sibTransId="{C4C1F08F-5F89-43CB-BCC9-CC88921C00C8}"/>
    <dgm:cxn modelId="{F573D552-B4C4-43A7-A0DB-5CF4CBD3B4E8}" type="presOf" srcId="{464863C0-161F-4F86-B4D8-27E3FE04B8CD}" destId="{781214F9-F4B2-4AC3-827F-391C0CD97793}" srcOrd="0" destOrd="0" presId="urn:microsoft.com/office/officeart/2018/5/layout/IconCircleLabelList"/>
    <dgm:cxn modelId="{576A3875-6FF8-46C9-AE47-94FF391951B9}" type="presOf" srcId="{6943EA71-01F3-4286-87F1-F7FAAA5C8A04}" destId="{FE1921AF-2687-4C08-877B-FA5D0C9FB2B8}" srcOrd="0" destOrd="0" presId="urn:microsoft.com/office/officeart/2018/5/layout/IconCircleLabelList"/>
    <dgm:cxn modelId="{F13ACBCF-261B-4AA3-9B9A-9158388C115A}" type="presOf" srcId="{05AC2474-A56B-4861-89B9-02E8203F2F9B}" destId="{32682401-AEA0-4333-9B51-5F2B2F666C3B}" srcOrd="0" destOrd="0" presId="urn:microsoft.com/office/officeart/2018/5/layout/IconCircleLabelList"/>
    <dgm:cxn modelId="{8A1356F6-785E-4366-8927-8B7B43F66C0F}" srcId="{05AC2474-A56B-4861-89B9-02E8203F2F9B}" destId="{962F8B71-C816-4489-8E4F-E018E142546D}" srcOrd="0" destOrd="0" parTransId="{0C22E6AA-6C8E-482F-A5C9-B2F95D6B97E2}" sibTransId="{C8E49C63-71B8-4042-B8D5-C6BB12C4F52E}"/>
    <dgm:cxn modelId="{D3EB4251-C6DC-42A3-9853-E0BD77B1D265}" type="presParOf" srcId="{32682401-AEA0-4333-9B51-5F2B2F666C3B}" destId="{0A3955DE-9BB3-452F-BAF2-0EB11F5B0CB6}" srcOrd="0" destOrd="0" presId="urn:microsoft.com/office/officeart/2018/5/layout/IconCircleLabelList"/>
    <dgm:cxn modelId="{CF4FD8B0-417D-4E6C-9601-F9BDE60511EA}" type="presParOf" srcId="{0A3955DE-9BB3-452F-BAF2-0EB11F5B0CB6}" destId="{F8238901-8A1E-4352-9FFF-8A877EEC511E}" srcOrd="0" destOrd="0" presId="urn:microsoft.com/office/officeart/2018/5/layout/IconCircleLabelList"/>
    <dgm:cxn modelId="{D9834D9A-9281-4D48-BD07-0FA5220D44A3}" type="presParOf" srcId="{0A3955DE-9BB3-452F-BAF2-0EB11F5B0CB6}" destId="{83759627-2B81-4D1D-96B5-12383CA4CA2A}" srcOrd="1" destOrd="0" presId="urn:microsoft.com/office/officeart/2018/5/layout/IconCircleLabelList"/>
    <dgm:cxn modelId="{C9A99D6C-EE1A-428A-971A-EF31147D7FC9}" type="presParOf" srcId="{0A3955DE-9BB3-452F-BAF2-0EB11F5B0CB6}" destId="{1D4B5EAE-4DE5-48C8-9F5C-253F9B196275}" srcOrd="2" destOrd="0" presId="urn:microsoft.com/office/officeart/2018/5/layout/IconCircleLabelList"/>
    <dgm:cxn modelId="{A0E343B1-5DE3-4D11-8806-E86B0648C8C8}" type="presParOf" srcId="{0A3955DE-9BB3-452F-BAF2-0EB11F5B0CB6}" destId="{676AD025-BF91-451D-8DFB-CFA31C8ED67C}" srcOrd="3" destOrd="0" presId="urn:microsoft.com/office/officeart/2018/5/layout/IconCircleLabelList"/>
    <dgm:cxn modelId="{3ABF035C-240F-45A3-9B38-8D8D8493AA31}" type="presParOf" srcId="{32682401-AEA0-4333-9B51-5F2B2F666C3B}" destId="{322490D7-1032-4CF6-9094-F5A62F5A34F5}" srcOrd="1" destOrd="0" presId="urn:microsoft.com/office/officeart/2018/5/layout/IconCircleLabelList"/>
    <dgm:cxn modelId="{EF66140E-A03E-4A49-B01F-7BD09EF854E7}" type="presParOf" srcId="{32682401-AEA0-4333-9B51-5F2B2F666C3B}" destId="{3A803DA9-2368-449A-BBD6-2D13B997067A}" srcOrd="2" destOrd="0" presId="urn:microsoft.com/office/officeart/2018/5/layout/IconCircleLabelList"/>
    <dgm:cxn modelId="{6B8E1718-A53D-453E-9B49-AF41A30E7FD4}" type="presParOf" srcId="{3A803DA9-2368-449A-BBD6-2D13B997067A}" destId="{CFE6CA9A-B0ED-4FD3-9D53-D3123BB962D1}" srcOrd="0" destOrd="0" presId="urn:microsoft.com/office/officeart/2018/5/layout/IconCircleLabelList"/>
    <dgm:cxn modelId="{2186F5FF-30D5-4D28-BFBF-D7B04840120B}" type="presParOf" srcId="{3A803DA9-2368-449A-BBD6-2D13B997067A}" destId="{8F598D63-B9DF-477D-A081-0660F52C130F}" srcOrd="1" destOrd="0" presId="urn:microsoft.com/office/officeart/2018/5/layout/IconCircleLabelList"/>
    <dgm:cxn modelId="{FDE77294-4DBC-41DC-8A0F-DFEABAFAA67B}" type="presParOf" srcId="{3A803DA9-2368-449A-BBD6-2D13B997067A}" destId="{FA163D1D-F623-4A08-9CE5-7AD5FACEFB11}" srcOrd="2" destOrd="0" presId="urn:microsoft.com/office/officeart/2018/5/layout/IconCircleLabelList"/>
    <dgm:cxn modelId="{AC5AF559-31F4-495D-A984-BB95ECE58A0A}" type="presParOf" srcId="{3A803DA9-2368-449A-BBD6-2D13B997067A}" destId="{FE1921AF-2687-4C08-877B-FA5D0C9FB2B8}" srcOrd="3" destOrd="0" presId="urn:microsoft.com/office/officeart/2018/5/layout/IconCircleLabelList"/>
    <dgm:cxn modelId="{C296DD52-2CF0-4E5D-8D5D-E700D17E73E8}" type="presParOf" srcId="{32682401-AEA0-4333-9B51-5F2B2F666C3B}" destId="{79669206-52DE-42CF-87FC-36601825A87C}" srcOrd="3" destOrd="0" presId="urn:microsoft.com/office/officeart/2018/5/layout/IconCircleLabelList"/>
    <dgm:cxn modelId="{4F140D9E-9728-4052-B89D-B6F0A42B710A}" type="presParOf" srcId="{32682401-AEA0-4333-9B51-5F2B2F666C3B}" destId="{9C5103C9-110D-4343-87A3-3C8135DCB471}" srcOrd="4" destOrd="0" presId="urn:microsoft.com/office/officeart/2018/5/layout/IconCircleLabelList"/>
    <dgm:cxn modelId="{16C1B7CF-2505-430B-95BC-FF3ED0B86769}" type="presParOf" srcId="{9C5103C9-110D-4343-87A3-3C8135DCB471}" destId="{2BFA9BAA-793D-43AD-9BD3-4C0DD6A61115}" srcOrd="0" destOrd="0" presId="urn:microsoft.com/office/officeart/2018/5/layout/IconCircleLabelList"/>
    <dgm:cxn modelId="{ACAB637B-4B6F-484C-945F-769E7C26033F}" type="presParOf" srcId="{9C5103C9-110D-4343-87A3-3C8135DCB471}" destId="{4C417DE6-3988-4721-B526-A7FA9518EADE}" srcOrd="1" destOrd="0" presId="urn:microsoft.com/office/officeart/2018/5/layout/IconCircleLabelList"/>
    <dgm:cxn modelId="{AF37F9A9-0AE2-4D9F-9D7A-7C63105E4B81}" type="presParOf" srcId="{9C5103C9-110D-4343-87A3-3C8135DCB471}" destId="{A5AE8FA2-30F2-46EA-9094-82A7771BA8F3}" srcOrd="2" destOrd="0" presId="urn:microsoft.com/office/officeart/2018/5/layout/IconCircleLabelList"/>
    <dgm:cxn modelId="{7C32A419-9FAD-4972-B53E-4B58AC87330E}" type="presParOf" srcId="{9C5103C9-110D-4343-87A3-3C8135DCB471}" destId="{781214F9-F4B2-4AC3-827F-391C0CD97793}" srcOrd="3" destOrd="0" presId="urn:microsoft.com/office/officeart/2018/5/layout/IconCircle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4D3AB60-C176-429B-998C-12421F9EFE1D}" type="doc">
      <dgm:prSet loTypeId="urn:microsoft.com/office/officeart/2005/8/layout/vList2" loCatId="list" qsTypeId="urn:microsoft.com/office/officeart/2005/8/quickstyle/simple4" qsCatId="simple" csTypeId="urn:microsoft.com/office/officeart/2005/8/colors/colorful2" csCatId="colorful"/>
      <dgm:spPr/>
      <dgm:t>
        <a:bodyPr/>
        <a:lstStyle/>
        <a:p>
          <a:endParaRPr lang="en-US"/>
        </a:p>
      </dgm:t>
    </dgm:pt>
    <dgm:pt modelId="{4D7A141D-C5BF-49BA-A46E-775408633963}">
      <dgm:prSet/>
      <dgm:spPr/>
      <dgm:t>
        <a:bodyPr/>
        <a:lstStyle/>
        <a:p>
          <a:r>
            <a:rPr lang="en-US" dirty="0"/>
            <a:t>As of March 2023, emergency allotments ended in all states.</a:t>
          </a:r>
        </a:p>
      </dgm:t>
    </dgm:pt>
    <dgm:pt modelId="{245F0227-9FCC-4415-BAFC-97C11D5DC29A}" type="parTrans" cxnId="{4E539A03-0165-4654-AE54-711CBFD8D8C2}">
      <dgm:prSet/>
      <dgm:spPr/>
      <dgm:t>
        <a:bodyPr/>
        <a:lstStyle/>
        <a:p>
          <a:endParaRPr lang="en-US"/>
        </a:p>
      </dgm:t>
    </dgm:pt>
    <dgm:pt modelId="{2E1F4205-58A9-400B-A437-06AEBD12DA5E}" type="sibTrans" cxnId="{4E539A03-0165-4654-AE54-711CBFD8D8C2}">
      <dgm:prSet/>
      <dgm:spPr/>
      <dgm:t>
        <a:bodyPr/>
        <a:lstStyle/>
        <a:p>
          <a:endParaRPr lang="en-US"/>
        </a:p>
      </dgm:t>
    </dgm:pt>
    <dgm:pt modelId="{B86DE19A-76E8-4393-A751-037D8B0A159D}">
      <dgm:prSet/>
      <dgm:spPr/>
      <dgm:t>
        <a:bodyPr/>
        <a:lstStyle/>
        <a:p>
          <a:r>
            <a:rPr lang="en-US" dirty="0"/>
            <a:t>Check out these resources for more information &amp; share with hospital teams:</a:t>
          </a:r>
        </a:p>
      </dgm:t>
    </dgm:pt>
    <dgm:pt modelId="{D0903A60-8E8D-4757-9B0B-51BF6B9C67C0}" type="parTrans" cxnId="{81389747-F5BA-4B7E-BAB0-F36D79632952}">
      <dgm:prSet/>
      <dgm:spPr/>
      <dgm:t>
        <a:bodyPr/>
        <a:lstStyle/>
        <a:p>
          <a:endParaRPr lang="en-US"/>
        </a:p>
      </dgm:t>
    </dgm:pt>
    <dgm:pt modelId="{ECF9EABF-75B2-4472-96FF-26BA50DC778F}" type="sibTrans" cxnId="{81389747-F5BA-4B7E-BAB0-F36D79632952}">
      <dgm:prSet/>
      <dgm:spPr/>
      <dgm:t>
        <a:bodyPr/>
        <a:lstStyle/>
        <a:p>
          <a:endParaRPr lang="en-US"/>
        </a:p>
      </dgm:t>
    </dgm:pt>
    <dgm:pt modelId="{1E0BA558-2BC3-4720-97E3-C06248B7D215}">
      <dgm:prSet/>
      <dgm:spPr/>
      <dgm:t>
        <a:bodyPr/>
        <a:lstStyle/>
        <a:p>
          <a:r>
            <a:rPr lang="en-US" dirty="0">
              <a:hlinkClick xmlns:r="http://schemas.openxmlformats.org/officeDocument/2006/relationships" r:id="rId1"/>
            </a:rPr>
            <a:t>USDA: Changes to SNAP Benefit Amounts - 2023</a:t>
          </a:r>
          <a:endParaRPr lang="en-US" dirty="0"/>
        </a:p>
      </dgm:t>
    </dgm:pt>
    <dgm:pt modelId="{3910BC86-C64D-48AA-B39B-902553D7F188}" type="parTrans" cxnId="{E3B787E7-136B-4536-9E18-08A5A7AC1056}">
      <dgm:prSet/>
      <dgm:spPr/>
      <dgm:t>
        <a:bodyPr/>
        <a:lstStyle/>
        <a:p>
          <a:endParaRPr lang="en-US"/>
        </a:p>
      </dgm:t>
    </dgm:pt>
    <dgm:pt modelId="{3F46B8CD-3FF9-437F-B842-8C0267C4F6EB}" type="sibTrans" cxnId="{E3B787E7-136B-4536-9E18-08A5A7AC1056}">
      <dgm:prSet/>
      <dgm:spPr/>
      <dgm:t>
        <a:bodyPr/>
        <a:lstStyle/>
        <a:p>
          <a:endParaRPr lang="en-US"/>
        </a:p>
      </dgm:t>
    </dgm:pt>
    <dgm:pt modelId="{71F256C5-2E8E-4985-9F51-087B9A7A49C2}">
      <dgm:prSet/>
      <dgm:spPr/>
      <dgm:t>
        <a:bodyPr/>
        <a:lstStyle/>
        <a:p>
          <a:r>
            <a:rPr lang="en-US" dirty="0">
              <a:hlinkClick xmlns:r="http://schemas.openxmlformats.org/officeDocument/2006/relationships" r:id="rId2"/>
            </a:rPr>
            <a:t>IDHS: SNAP Emergency Allotment Availability</a:t>
          </a:r>
          <a:endParaRPr lang="en-US" dirty="0"/>
        </a:p>
      </dgm:t>
    </dgm:pt>
    <dgm:pt modelId="{C5274D52-4E66-4A31-B46D-40699D67D643}" type="parTrans" cxnId="{43E5E6B5-0454-45CC-AA6C-0BB2CFCEAC6B}">
      <dgm:prSet/>
      <dgm:spPr/>
      <dgm:t>
        <a:bodyPr/>
        <a:lstStyle/>
        <a:p>
          <a:endParaRPr lang="en-US"/>
        </a:p>
      </dgm:t>
    </dgm:pt>
    <dgm:pt modelId="{8A260783-C2D3-4317-8B93-76064E4A1391}" type="sibTrans" cxnId="{43E5E6B5-0454-45CC-AA6C-0BB2CFCEAC6B}">
      <dgm:prSet/>
      <dgm:spPr/>
      <dgm:t>
        <a:bodyPr/>
        <a:lstStyle/>
        <a:p>
          <a:endParaRPr lang="en-US"/>
        </a:p>
      </dgm:t>
    </dgm:pt>
    <dgm:pt modelId="{B9C7830E-7E39-4832-85BA-AA47C6A55D8E}">
      <dgm:prSet/>
      <dgm:spPr/>
      <dgm:t>
        <a:bodyPr/>
        <a:lstStyle/>
        <a:p>
          <a:r>
            <a:rPr lang="en-US" dirty="0">
              <a:hlinkClick xmlns:r="http://schemas.openxmlformats.org/officeDocument/2006/relationships" r:id="rId3"/>
            </a:rPr>
            <a:t>IDHS: Food</a:t>
          </a:r>
          <a:endParaRPr lang="en-US" dirty="0"/>
        </a:p>
      </dgm:t>
    </dgm:pt>
    <dgm:pt modelId="{CD1858D0-BEAC-4420-9890-12509B535CF7}" type="parTrans" cxnId="{ACFA9DE7-7CEB-417B-B69A-FE0DC7A3861E}">
      <dgm:prSet/>
      <dgm:spPr/>
      <dgm:t>
        <a:bodyPr/>
        <a:lstStyle/>
        <a:p>
          <a:endParaRPr lang="en-US"/>
        </a:p>
      </dgm:t>
    </dgm:pt>
    <dgm:pt modelId="{E0198C50-01C7-449A-AFFC-63F4628F51D9}" type="sibTrans" cxnId="{ACFA9DE7-7CEB-417B-B69A-FE0DC7A3861E}">
      <dgm:prSet/>
      <dgm:spPr/>
      <dgm:t>
        <a:bodyPr/>
        <a:lstStyle/>
        <a:p>
          <a:endParaRPr lang="en-US"/>
        </a:p>
      </dgm:t>
    </dgm:pt>
    <dgm:pt modelId="{89E652E4-77C2-4B21-9419-C82D285BB48D}">
      <dgm:prSet/>
      <dgm:spPr/>
      <dgm:t>
        <a:bodyPr/>
        <a:lstStyle/>
        <a:p>
          <a:r>
            <a:rPr lang="en-US" dirty="0">
              <a:hlinkClick xmlns:r="http://schemas.openxmlformats.org/officeDocument/2006/relationships" r:id="rId4"/>
            </a:rPr>
            <a:t>Find Food IL Community Food Map</a:t>
          </a:r>
          <a:endParaRPr lang="en-US" dirty="0"/>
        </a:p>
      </dgm:t>
    </dgm:pt>
    <dgm:pt modelId="{B49D5CDC-339F-4BED-BF62-49240B43BA23}" type="parTrans" cxnId="{642D3E94-1A72-4E9A-BA5F-693D873DE8BD}">
      <dgm:prSet/>
      <dgm:spPr/>
      <dgm:t>
        <a:bodyPr/>
        <a:lstStyle/>
        <a:p>
          <a:endParaRPr lang="en-US"/>
        </a:p>
      </dgm:t>
    </dgm:pt>
    <dgm:pt modelId="{7624E63F-C89F-4B4B-8B4A-803679776FDC}" type="sibTrans" cxnId="{642D3E94-1A72-4E9A-BA5F-693D873DE8BD}">
      <dgm:prSet/>
      <dgm:spPr/>
      <dgm:t>
        <a:bodyPr/>
        <a:lstStyle/>
        <a:p>
          <a:endParaRPr lang="en-US"/>
        </a:p>
      </dgm:t>
    </dgm:pt>
    <dgm:pt modelId="{0B88211E-FFD4-41DD-B26B-18E536429D7C}">
      <dgm:prSet/>
      <dgm:spPr/>
      <dgm:t>
        <a:bodyPr/>
        <a:lstStyle/>
        <a:p>
          <a:r>
            <a:rPr lang="en-US" dirty="0">
              <a:hlinkClick xmlns:r="http://schemas.openxmlformats.org/officeDocument/2006/relationships" r:id="rId5"/>
            </a:rPr>
            <a:t>Redetermination: What to Expect During the PHE Unwinding</a:t>
          </a:r>
          <a:endParaRPr lang="en-US" dirty="0"/>
        </a:p>
      </dgm:t>
    </dgm:pt>
    <dgm:pt modelId="{30366A10-0321-44A4-A0A9-C4FEFBED1254}" type="parTrans" cxnId="{2BC6BB27-D7D3-4792-A9E2-7A6668D326D8}">
      <dgm:prSet/>
      <dgm:spPr/>
      <dgm:t>
        <a:bodyPr/>
        <a:lstStyle/>
        <a:p>
          <a:endParaRPr lang="en-US"/>
        </a:p>
      </dgm:t>
    </dgm:pt>
    <dgm:pt modelId="{4EC4D6B3-BCF1-45F2-9DE9-B0124853F7E0}" type="sibTrans" cxnId="{2BC6BB27-D7D3-4792-A9E2-7A6668D326D8}">
      <dgm:prSet/>
      <dgm:spPr/>
      <dgm:t>
        <a:bodyPr/>
        <a:lstStyle/>
        <a:p>
          <a:endParaRPr lang="en-US"/>
        </a:p>
      </dgm:t>
    </dgm:pt>
    <dgm:pt modelId="{F21E16BF-B662-48D7-A41E-8C9933AE50AC}">
      <dgm:prSet/>
      <dgm:spPr/>
      <dgm:t>
        <a:bodyPr/>
        <a:lstStyle/>
        <a:p>
          <a:r>
            <a:rPr lang="en-US" dirty="0">
              <a:hlinkClick xmlns:r="http://schemas.openxmlformats.org/officeDocument/2006/relationships" r:id="rId6"/>
            </a:rPr>
            <a:t>Application for Benefits Eligibility</a:t>
          </a:r>
        </a:p>
      </dgm:t>
    </dgm:pt>
    <dgm:pt modelId="{A5BD72FC-08D9-4309-9D5A-A6050735A19A}" type="parTrans" cxnId="{9AB53C2E-E5CA-4FD0-A750-ACD63AF34DA3}">
      <dgm:prSet/>
      <dgm:spPr/>
      <dgm:t>
        <a:bodyPr/>
        <a:lstStyle/>
        <a:p>
          <a:endParaRPr lang="en-US"/>
        </a:p>
      </dgm:t>
    </dgm:pt>
    <dgm:pt modelId="{F508CCE3-C5FE-4456-ACCF-4C91E2FC7936}" type="sibTrans" cxnId="{9AB53C2E-E5CA-4FD0-A750-ACD63AF34DA3}">
      <dgm:prSet/>
      <dgm:spPr/>
      <dgm:t>
        <a:bodyPr/>
        <a:lstStyle/>
        <a:p>
          <a:endParaRPr lang="en-US"/>
        </a:p>
      </dgm:t>
    </dgm:pt>
    <dgm:pt modelId="{62B76392-3CE7-49B0-999F-C9252DC014B2}" type="pres">
      <dgm:prSet presAssocID="{F4D3AB60-C176-429B-998C-12421F9EFE1D}" presName="linear" presStyleCnt="0">
        <dgm:presLayoutVars>
          <dgm:animLvl val="lvl"/>
          <dgm:resizeHandles val="exact"/>
        </dgm:presLayoutVars>
      </dgm:prSet>
      <dgm:spPr/>
    </dgm:pt>
    <dgm:pt modelId="{C0DE66CF-12B3-4E06-A70C-E249D1D083DD}" type="pres">
      <dgm:prSet presAssocID="{4D7A141D-C5BF-49BA-A46E-775408633963}" presName="parentText" presStyleLbl="node1" presStyleIdx="0" presStyleCnt="2">
        <dgm:presLayoutVars>
          <dgm:chMax val="0"/>
          <dgm:bulletEnabled val="1"/>
        </dgm:presLayoutVars>
      </dgm:prSet>
      <dgm:spPr/>
    </dgm:pt>
    <dgm:pt modelId="{7D372ECD-1FA4-4833-B8B1-98F0F47DC3B0}" type="pres">
      <dgm:prSet presAssocID="{2E1F4205-58A9-400B-A437-06AEBD12DA5E}" presName="spacer" presStyleCnt="0"/>
      <dgm:spPr/>
    </dgm:pt>
    <dgm:pt modelId="{32D25E5F-7474-470D-92E9-CAA644527348}" type="pres">
      <dgm:prSet presAssocID="{B86DE19A-76E8-4393-A751-037D8B0A159D}" presName="parentText" presStyleLbl="node1" presStyleIdx="1" presStyleCnt="2">
        <dgm:presLayoutVars>
          <dgm:chMax val="0"/>
          <dgm:bulletEnabled val="1"/>
        </dgm:presLayoutVars>
      </dgm:prSet>
      <dgm:spPr/>
    </dgm:pt>
    <dgm:pt modelId="{8978D955-C437-48F7-BF83-308F59F03719}" type="pres">
      <dgm:prSet presAssocID="{B86DE19A-76E8-4393-A751-037D8B0A159D}" presName="childText" presStyleLbl="revTx" presStyleIdx="0" presStyleCnt="1">
        <dgm:presLayoutVars>
          <dgm:bulletEnabled val="1"/>
        </dgm:presLayoutVars>
      </dgm:prSet>
      <dgm:spPr/>
    </dgm:pt>
  </dgm:ptLst>
  <dgm:cxnLst>
    <dgm:cxn modelId="{4E539A03-0165-4654-AE54-711CBFD8D8C2}" srcId="{F4D3AB60-C176-429B-998C-12421F9EFE1D}" destId="{4D7A141D-C5BF-49BA-A46E-775408633963}" srcOrd="0" destOrd="0" parTransId="{245F0227-9FCC-4415-BAFC-97C11D5DC29A}" sibTransId="{2E1F4205-58A9-400B-A437-06AEBD12DA5E}"/>
    <dgm:cxn modelId="{93D8F724-80BF-4D23-A914-5AF780928BCB}" type="presOf" srcId="{F4D3AB60-C176-429B-998C-12421F9EFE1D}" destId="{62B76392-3CE7-49B0-999F-C9252DC014B2}" srcOrd="0" destOrd="0" presId="urn:microsoft.com/office/officeart/2005/8/layout/vList2"/>
    <dgm:cxn modelId="{2BC6BB27-D7D3-4792-A9E2-7A6668D326D8}" srcId="{B86DE19A-76E8-4393-A751-037D8B0A159D}" destId="{0B88211E-FFD4-41DD-B26B-18E536429D7C}" srcOrd="4" destOrd="0" parTransId="{30366A10-0321-44A4-A0A9-C4FEFBED1254}" sibTransId="{4EC4D6B3-BCF1-45F2-9DE9-B0124853F7E0}"/>
    <dgm:cxn modelId="{9AB53C2E-E5CA-4FD0-A750-ACD63AF34DA3}" srcId="{B86DE19A-76E8-4393-A751-037D8B0A159D}" destId="{F21E16BF-B662-48D7-A41E-8C9933AE50AC}" srcOrd="5" destOrd="0" parTransId="{A5BD72FC-08D9-4309-9D5A-A6050735A19A}" sibTransId="{F508CCE3-C5FE-4456-ACCF-4C91E2FC7936}"/>
    <dgm:cxn modelId="{81389747-F5BA-4B7E-BAB0-F36D79632952}" srcId="{F4D3AB60-C176-429B-998C-12421F9EFE1D}" destId="{B86DE19A-76E8-4393-A751-037D8B0A159D}" srcOrd="1" destOrd="0" parTransId="{D0903A60-8E8D-4757-9B0B-51BF6B9C67C0}" sibTransId="{ECF9EABF-75B2-4472-96FF-26BA50DC778F}"/>
    <dgm:cxn modelId="{9537B557-0632-4E42-A8FB-ADFEE5AB131C}" type="presOf" srcId="{0B88211E-FFD4-41DD-B26B-18E536429D7C}" destId="{8978D955-C437-48F7-BF83-308F59F03719}" srcOrd="0" destOrd="4" presId="urn:microsoft.com/office/officeart/2005/8/layout/vList2"/>
    <dgm:cxn modelId="{74AAD17C-1356-4F62-BFF7-0ABAB8108045}" type="presOf" srcId="{B9C7830E-7E39-4832-85BA-AA47C6A55D8E}" destId="{8978D955-C437-48F7-BF83-308F59F03719}" srcOrd="0" destOrd="2" presId="urn:microsoft.com/office/officeart/2005/8/layout/vList2"/>
    <dgm:cxn modelId="{786FB481-E956-4328-936D-85B3F145F88A}" type="presOf" srcId="{F21E16BF-B662-48D7-A41E-8C9933AE50AC}" destId="{8978D955-C437-48F7-BF83-308F59F03719}" srcOrd="0" destOrd="5" presId="urn:microsoft.com/office/officeart/2005/8/layout/vList2"/>
    <dgm:cxn modelId="{A18DBA85-4F66-4585-B224-3E3BB2EE9208}" type="presOf" srcId="{89E652E4-77C2-4B21-9419-C82D285BB48D}" destId="{8978D955-C437-48F7-BF83-308F59F03719}" srcOrd="0" destOrd="3" presId="urn:microsoft.com/office/officeart/2005/8/layout/vList2"/>
    <dgm:cxn modelId="{FBD31192-FE07-42AF-BF04-95EAF4010CED}" type="presOf" srcId="{4D7A141D-C5BF-49BA-A46E-775408633963}" destId="{C0DE66CF-12B3-4E06-A70C-E249D1D083DD}" srcOrd="0" destOrd="0" presId="urn:microsoft.com/office/officeart/2005/8/layout/vList2"/>
    <dgm:cxn modelId="{642D3E94-1A72-4E9A-BA5F-693D873DE8BD}" srcId="{B86DE19A-76E8-4393-A751-037D8B0A159D}" destId="{89E652E4-77C2-4B21-9419-C82D285BB48D}" srcOrd="3" destOrd="0" parTransId="{B49D5CDC-339F-4BED-BF62-49240B43BA23}" sibTransId="{7624E63F-C89F-4B4B-8B4A-803679776FDC}"/>
    <dgm:cxn modelId="{65C85196-351F-44D2-8564-C1B7A26CD19A}" type="presOf" srcId="{71F256C5-2E8E-4985-9F51-087B9A7A49C2}" destId="{8978D955-C437-48F7-BF83-308F59F03719}" srcOrd="0" destOrd="1" presId="urn:microsoft.com/office/officeart/2005/8/layout/vList2"/>
    <dgm:cxn modelId="{E0C75FB4-5EAD-4AC5-B97F-99815905E782}" type="presOf" srcId="{B86DE19A-76E8-4393-A751-037D8B0A159D}" destId="{32D25E5F-7474-470D-92E9-CAA644527348}" srcOrd="0" destOrd="0" presId="urn:microsoft.com/office/officeart/2005/8/layout/vList2"/>
    <dgm:cxn modelId="{43E5E6B5-0454-45CC-AA6C-0BB2CFCEAC6B}" srcId="{B86DE19A-76E8-4393-A751-037D8B0A159D}" destId="{71F256C5-2E8E-4985-9F51-087B9A7A49C2}" srcOrd="1" destOrd="0" parTransId="{C5274D52-4E66-4A31-B46D-40699D67D643}" sibTransId="{8A260783-C2D3-4317-8B93-76064E4A1391}"/>
    <dgm:cxn modelId="{E1DBAFCC-7832-4317-8D23-08197661DC34}" type="presOf" srcId="{1E0BA558-2BC3-4720-97E3-C06248B7D215}" destId="{8978D955-C437-48F7-BF83-308F59F03719}" srcOrd="0" destOrd="0" presId="urn:microsoft.com/office/officeart/2005/8/layout/vList2"/>
    <dgm:cxn modelId="{E3B787E7-136B-4536-9E18-08A5A7AC1056}" srcId="{B86DE19A-76E8-4393-A751-037D8B0A159D}" destId="{1E0BA558-2BC3-4720-97E3-C06248B7D215}" srcOrd="0" destOrd="0" parTransId="{3910BC86-C64D-48AA-B39B-902553D7F188}" sibTransId="{3F46B8CD-3FF9-437F-B842-8C0267C4F6EB}"/>
    <dgm:cxn modelId="{ACFA9DE7-7CEB-417B-B69A-FE0DC7A3861E}" srcId="{B86DE19A-76E8-4393-A751-037D8B0A159D}" destId="{B9C7830E-7E39-4832-85BA-AA47C6A55D8E}" srcOrd="2" destOrd="0" parTransId="{CD1858D0-BEAC-4420-9890-12509B535CF7}" sibTransId="{E0198C50-01C7-449A-AFFC-63F4628F51D9}"/>
    <dgm:cxn modelId="{0134E73F-BEE3-45F0-8596-742E4F4FB61B}" type="presParOf" srcId="{62B76392-3CE7-49B0-999F-C9252DC014B2}" destId="{C0DE66CF-12B3-4E06-A70C-E249D1D083DD}" srcOrd="0" destOrd="0" presId="urn:microsoft.com/office/officeart/2005/8/layout/vList2"/>
    <dgm:cxn modelId="{D441A095-62C2-4213-9B4D-F68F3783CE2D}" type="presParOf" srcId="{62B76392-3CE7-49B0-999F-C9252DC014B2}" destId="{7D372ECD-1FA4-4833-B8B1-98F0F47DC3B0}" srcOrd="1" destOrd="0" presId="urn:microsoft.com/office/officeart/2005/8/layout/vList2"/>
    <dgm:cxn modelId="{DA866857-B085-4E1F-B483-798D67629404}" type="presParOf" srcId="{62B76392-3CE7-49B0-999F-C9252DC014B2}" destId="{32D25E5F-7474-470D-92E9-CAA644527348}" srcOrd="2" destOrd="0" presId="urn:microsoft.com/office/officeart/2005/8/layout/vList2"/>
    <dgm:cxn modelId="{888E2793-6492-450B-967F-6B4FB2C53E27}" type="presParOf" srcId="{62B76392-3CE7-49B0-999F-C9252DC014B2}" destId="{8978D955-C437-48F7-BF83-308F59F03719}"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F7A72CD-D92F-4C60-BE1A-7BC2D023BB05}" type="doc">
      <dgm:prSet loTypeId="urn:microsoft.com/office/officeart/2005/8/layout/hProcess4" loCatId="process" qsTypeId="urn:microsoft.com/office/officeart/2005/8/quickstyle/simple1" qsCatId="simple" csTypeId="urn:microsoft.com/office/officeart/2005/8/colors/colorful3" csCatId="colorful" phldr="1"/>
      <dgm:spPr/>
    </dgm:pt>
    <dgm:pt modelId="{019695E6-A658-4897-80F2-A08CC8E51471}">
      <dgm:prSet phldrT="[Text]"/>
      <dgm:spPr/>
      <dgm:t>
        <a:bodyPr/>
        <a:lstStyle/>
        <a:p>
          <a:pPr rtl="0"/>
          <a:r>
            <a:rPr lang="en-US" b="1" dirty="0">
              <a:solidFill>
                <a:schemeClr val="accent1"/>
              </a:solidFill>
              <a:latin typeface="Arial"/>
              <a:cs typeface="Arial"/>
            </a:rPr>
            <a:t> Register Now on ILPQC Website!</a:t>
          </a:r>
        </a:p>
      </dgm:t>
    </dgm:pt>
    <dgm:pt modelId="{B686F262-5B44-47A7-8841-EAC8EC87E6C1}" type="parTrans" cxnId="{E6A3CBF4-6DCE-4383-8444-BEE5F48809C6}">
      <dgm:prSet/>
      <dgm:spPr/>
    </dgm:pt>
    <dgm:pt modelId="{91B26892-AE2C-4A26-9563-AE9E9F1FA72C}" type="sibTrans" cxnId="{E6A3CBF4-6DCE-4383-8444-BEE5F48809C6}">
      <dgm:prSet/>
      <dgm:spPr/>
      <dgm:t>
        <a:bodyPr/>
        <a:lstStyle/>
        <a:p>
          <a:endParaRPr lang="en-US"/>
        </a:p>
      </dgm:t>
    </dgm:pt>
    <dgm:pt modelId="{5C1DD914-EF33-4EF3-B221-C3F33C853A5A}">
      <dgm:prSet phldrT="[Text]"/>
      <dgm:spPr/>
      <dgm:t>
        <a:bodyPr/>
        <a:lstStyle/>
        <a:p>
          <a:pPr rtl="0"/>
          <a:r>
            <a:rPr lang="en-US" b="1" dirty="0">
              <a:solidFill>
                <a:schemeClr val="accent1"/>
              </a:solidFill>
              <a:latin typeface="Arial"/>
              <a:cs typeface="Arial"/>
            </a:rPr>
            <a:t>Submit your Data!</a:t>
          </a:r>
          <a:r>
            <a:rPr lang="en-US" dirty="0">
              <a:solidFill>
                <a:schemeClr val="accent1"/>
              </a:solidFill>
              <a:latin typeface="Arial"/>
              <a:cs typeface="Arial"/>
            </a:rPr>
            <a:t> </a:t>
          </a:r>
        </a:p>
      </dgm:t>
    </dgm:pt>
    <dgm:pt modelId="{7B5EAACE-94C5-4928-9134-CA8DE1E36EAC}" type="parTrans" cxnId="{C0F52AD4-B4F8-41F8-B1E1-BF422735979D}">
      <dgm:prSet/>
      <dgm:spPr/>
    </dgm:pt>
    <dgm:pt modelId="{F621EE85-7E3C-4D1D-A5C4-83C833F67D2F}" type="sibTrans" cxnId="{C0F52AD4-B4F8-41F8-B1E1-BF422735979D}">
      <dgm:prSet/>
      <dgm:spPr/>
      <dgm:t>
        <a:bodyPr/>
        <a:lstStyle/>
        <a:p>
          <a:endParaRPr lang="en-US"/>
        </a:p>
      </dgm:t>
    </dgm:pt>
    <dgm:pt modelId="{B6FEE040-5E22-4FBA-80BD-772A56465F90}">
      <dgm:prSet phldrT="[Text]"/>
      <dgm:spPr/>
      <dgm:t>
        <a:bodyPr/>
        <a:lstStyle/>
        <a:p>
          <a:pPr rtl="0"/>
          <a:r>
            <a:rPr lang="en-US" dirty="0">
              <a:solidFill>
                <a:schemeClr val="accent1"/>
              </a:solidFill>
              <a:latin typeface="Arial"/>
              <a:cs typeface="Arial"/>
            </a:rPr>
            <a:t>Submit </a:t>
          </a:r>
          <a:r>
            <a:rPr lang="en-US" b="1" u="sng" dirty="0">
              <a:solidFill>
                <a:schemeClr val="accent1"/>
              </a:solidFill>
              <a:latin typeface="Arial"/>
              <a:cs typeface="Arial"/>
            </a:rPr>
            <a:t>all your 2022 data</a:t>
          </a:r>
          <a:r>
            <a:rPr lang="en-US" dirty="0">
              <a:solidFill>
                <a:schemeClr val="accent1"/>
              </a:solidFill>
              <a:latin typeface="Arial"/>
              <a:cs typeface="Arial"/>
            </a:rPr>
            <a:t> plus </a:t>
          </a:r>
          <a:r>
            <a:rPr lang="en-US" b="1" u="sng" dirty="0">
              <a:solidFill>
                <a:schemeClr val="accent1"/>
              </a:solidFill>
              <a:latin typeface="Arial"/>
              <a:cs typeface="Arial"/>
            </a:rPr>
            <a:t>January, February, March 2023</a:t>
          </a:r>
        </a:p>
      </dgm:t>
    </dgm:pt>
    <dgm:pt modelId="{8CE72970-5FE5-419C-8904-F03CDA749BCA}" type="parTrans" cxnId="{BA632924-67ED-4ECF-9A7B-9C1A161F2962}">
      <dgm:prSet/>
      <dgm:spPr/>
    </dgm:pt>
    <dgm:pt modelId="{C7937236-40A7-4EEE-A278-4CA99EC3F59C}" type="sibTrans" cxnId="{BA632924-67ED-4ECF-9A7B-9C1A161F2962}">
      <dgm:prSet/>
      <dgm:spPr/>
      <dgm:t>
        <a:bodyPr/>
        <a:lstStyle/>
        <a:p>
          <a:endParaRPr lang="en-US"/>
        </a:p>
      </dgm:t>
    </dgm:pt>
    <dgm:pt modelId="{3456AB0F-96D4-4A97-8F82-64AE552EF6FB}">
      <dgm:prSet phldr="0"/>
      <dgm:spPr/>
      <dgm:t>
        <a:bodyPr/>
        <a:lstStyle/>
        <a:p>
          <a:pPr rtl="0"/>
          <a:r>
            <a:rPr lang="en-US" dirty="0">
              <a:solidFill>
                <a:schemeClr val="accent1"/>
              </a:solidFill>
              <a:latin typeface="Arial"/>
              <a:cs typeface="Arial"/>
            </a:rPr>
            <a:t>OB- May 24th, Wednesday</a:t>
          </a:r>
        </a:p>
      </dgm:t>
    </dgm:pt>
    <dgm:pt modelId="{284D4E98-45C6-4808-A7A3-BF108FD2DDFB}" type="parTrans" cxnId="{D57DC5A3-62AB-4A91-BBF8-F2DF04AF875E}">
      <dgm:prSet/>
      <dgm:spPr/>
    </dgm:pt>
    <dgm:pt modelId="{9E69DAB2-AA26-49ED-A477-8A58EC04F4DD}" type="sibTrans" cxnId="{D57DC5A3-62AB-4A91-BBF8-F2DF04AF875E}">
      <dgm:prSet/>
      <dgm:spPr/>
      <dgm:t>
        <a:bodyPr/>
        <a:lstStyle/>
        <a:p>
          <a:endParaRPr lang="en-US"/>
        </a:p>
      </dgm:t>
    </dgm:pt>
    <dgm:pt modelId="{05769790-14E8-4148-9EFC-2DA79A5686F2}">
      <dgm:prSet phldr="0"/>
      <dgm:spPr/>
      <dgm:t>
        <a:bodyPr/>
        <a:lstStyle/>
        <a:p>
          <a:pPr rtl="0"/>
          <a:r>
            <a:rPr lang="en-US" dirty="0">
              <a:solidFill>
                <a:schemeClr val="accent1"/>
              </a:solidFill>
              <a:latin typeface="Arial"/>
              <a:cs typeface="Arial"/>
            </a:rPr>
            <a:t>Neonatal- May 25th, Thursday</a:t>
          </a:r>
        </a:p>
      </dgm:t>
    </dgm:pt>
    <dgm:pt modelId="{E61EDA08-B100-421F-BC98-E5710E28E044}" type="parTrans" cxnId="{AD66E8C7-2AF9-4795-BF53-F9B54D9ACAD3}">
      <dgm:prSet/>
      <dgm:spPr/>
    </dgm:pt>
    <dgm:pt modelId="{792B1C38-7CC7-43E8-85FE-86B5CFE34B39}" type="sibTrans" cxnId="{AD66E8C7-2AF9-4795-BF53-F9B54D9ACAD3}">
      <dgm:prSet/>
      <dgm:spPr/>
      <dgm:t>
        <a:bodyPr/>
        <a:lstStyle/>
        <a:p>
          <a:endParaRPr lang="en-US"/>
        </a:p>
      </dgm:t>
    </dgm:pt>
    <dgm:pt modelId="{38870418-F509-4025-AB43-C99E58E9D509}">
      <dgm:prSet phldr="0"/>
      <dgm:spPr/>
      <dgm:t>
        <a:bodyPr/>
        <a:lstStyle/>
        <a:p>
          <a:pPr rtl="0"/>
          <a:r>
            <a:rPr lang="en-US" b="1" dirty="0">
              <a:solidFill>
                <a:schemeClr val="accent1"/>
              </a:solidFill>
              <a:latin typeface="Arial"/>
              <a:cs typeface="Arial"/>
            </a:rPr>
            <a:t> Storyboard Submissions!</a:t>
          </a:r>
        </a:p>
      </dgm:t>
    </dgm:pt>
    <dgm:pt modelId="{9C76E2A0-B157-420D-8410-B5B6DDAAAFE6}" type="parTrans" cxnId="{DA35413F-16A0-4FBA-B218-10D3E4F6732F}">
      <dgm:prSet/>
      <dgm:spPr/>
    </dgm:pt>
    <dgm:pt modelId="{8329EFE1-D519-46F7-9819-CE374241DFA4}" type="sibTrans" cxnId="{DA35413F-16A0-4FBA-B218-10D3E4F6732F}">
      <dgm:prSet/>
      <dgm:spPr/>
      <dgm:t>
        <a:bodyPr/>
        <a:lstStyle/>
        <a:p>
          <a:endParaRPr lang="en-US"/>
        </a:p>
      </dgm:t>
    </dgm:pt>
    <dgm:pt modelId="{99B110F8-6A29-4B06-8B52-0FF5AC6D254D}">
      <dgm:prSet phldr="0"/>
      <dgm:spPr/>
      <dgm:t>
        <a:bodyPr/>
        <a:lstStyle/>
        <a:p>
          <a:pPr rtl="0"/>
          <a:r>
            <a:rPr lang="en-US" b="0" dirty="0">
              <a:solidFill>
                <a:schemeClr val="accent1"/>
              </a:solidFill>
              <a:latin typeface="Arial"/>
              <a:cs typeface="Arial"/>
            </a:rPr>
            <a:t>Share your successes, opportunities, and specific strategies implemented! </a:t>
          </a:r>
        </a:p>
      </dgm:t>
    </dgm:pt>
    <dgm:pt modelId="{412B8E3B-A82C-4A7B-9FC8-1B3F408D4184}" type="parTrans" cxnId="{D0C5C968-8BE5-48EA-8C09-706A92AB48B5}">
      <dgm:prSet/>
      <dgm:spPr/>
    </dgm:pt>
    <dgm:pt modelId="{A07D58BA-57FF-4630-9AC9-A0F60EC5736C}" type="sibTrans" cxnId="{D0C5C968-8BE5-48EA-8C09-706A92AB48B5}">
      <dgm:prSet/>
      <dgm:spPr/>
    </dgm:pt>
    <dgm:pt modelId="{3DE293D2-6123-404E-A2C4-31713D59157B}">
      <dgm:prSet phldr="0"/>
      <dgm:spPr/>
      <dgm:t>
        <a:bodyPr/>
        <a:lstStyle/>
        <a:p>
          <a:pPr rtl="0"/>
          <a:r>
            <a:rPr lang="en-US" b="0" dirty="0">
              <a:solidFill>
                <a:schemeClr val="accent1"/>
              </a:solidFill>
              <a:latin typeface="Arial"/>
              <a:cs typeface="Arial"/>
            </a:rPr>
            <a:t>Share your DATA, graphs, PDSA cycles, process flow or 30/60/90 plans</a:t>
          </a:r>
        </a:p>
      </dgm:t>
    </dgm:pt>
    <dgm:pt modelId="{70FB02EA-3F70-46C7-96FD-12AC172E9174}" type="parTrans" cxnId="{73B62374-B279-4EB3-B133-ABA26F3780E1}">
      <dgm:prSet/>
      <dgm:spPr/>
    </dgm:pt>
    <dgm:pt modelId="{7BE67B6B-00C9-4D6D-8701-A8D78BA26FFA}" type="sibTrans" cxnId="{73B62374-B279-4EB3-B133-ABA26F3780E1}">
      <dgm:prSet/>
      <dgm:spPr/>
    </dgm:pt>
    <dgm:pt modelId="{B692733A-5AE6-4ECB-8111-57F9EDD9409F}">
      <dgm:prSet phldr="0"/>
      <dgm:spPr/>
      <dgm:t>
        <a:bodyPr/>
        <a:lstStyle/>
        <a:p>
          <a:pPr rtl="0"/>
          <a:r>
            <a:rPr lang="en-US" b="0" u="none" dirty="0">
              <a:solidFill>
                <a:schemeClr val="accent1"/>
              </a:solidFill>
              <a:latin typeface="Arial"/>
              <a:cs typeface="Arial"/>
            </a:rPr>
            <a:t>Review the award criteria for PVB, BE, and BASIC to achieve QI Excellence! </a:t>
          </a:r>
        </a:p>
      </dgm:t>
    </dgm:pt>
    <dgm:pt modelId="{26F0D997-187B-4259-A25A-8043A7B50CC5}" type="parTrans" cxnId="{ABAF1395-9A49-40D2-BD7B-2FE7CD74AA24}">
      <dgm:prSet/>
      <dgm:spPr/>
    </dgm:pt>
    <dgm:pt modelId="{6C5D385B-F1D8-49C4-BE45-F31745C0EC23}" type="sibTrans" cxnId="{ABAF1395-9A49-40D2-BD7B-2FE7CD74AA24}">
      <dgm:prSet/>
      <dgm:spPr/>
      <dgm:t>
        <a:bodyPr/>
        <a:lstStyle/>
        <a:p>
          <a:endParaRPr lang="en-US"/>
        </a:p>
      </dgm:t>
    </dgm:pt>
    <dgm:pt modelId="{D9C7E703-DE61-45CD-A076-3B7868D3DE65}">
      <dgm:prSet phldr="0"/>
      <dgm:spPr/>
      <dgm:t>
        <a:bodyPr/>
        <a:lstStyle/>
        <a:p>
          <a:pPr rtl="0"/>
          <a:r>
            <a:rPr lang="en-US" b="1" dirty="0">
              <a:solidFill>
                <a:schemeClr val="accent1"/>
              </a:solidFill>
              <a:latin typeface="Arial"/>
              <a:cs typeface="Arial"/>
            </a:rPr>
            <a:t>Start brainstorming your storyboard ideas! </a:t>
          </a:r>
        </a:p>
      </dgm:t>
    </dgm:pt>
    <dgm:pt modelId="{6C4A08EF-FCAD-407D-8F21-9E4C9FF1A351}" type="parTrans" cxnId="{E4CF87A7-5229-44E6-8B7F-268AF8628575}">
      <dgm:prSet/>
      <dgm:spPr/>
    </dgm:pt>
    <dgm:pt modelId="{B4AA8A62-5BB9-4CA4-827A-ECB285FBE9D9}" type="sibTrans" cxnId="{E4CF87A7-5229-44E6-8B7F-268AF8628575}">
      <dgm:prSet/>
      <dgm:spPr/>
    </dgm:pt>
    <dgm:pt modelId="{1FAFA9EB-E8A9-463D-AF35-5071306926A9}">
      <dgm:prSet phldr="0"/>
      <dgm:spPr/>
      <dgm:t>
        <a:bodyPr/>
        <a:lstStyle/>
        <a:p>
          <a:pPr rtl="0"/>
          <a:r>
            <a:rPr lang="en-US" b="0" dirty="0">
              <a:solidFill>
                <a:schemeClr val="accent1"/>
              </a:solidFill>
              <a:latin typeface="Arial"/>
              <a:cs typeface="Arial"/>
            </a:rPr>
            <a:t>ILPQC Room Block Now open!</a:t>
          </a:r>
        </a:p>
      </dgm:t>
    </dgm:pt>
    <dgm:pt modelId="{68183127-8420-483B-A71A-713799AA4CF1}" type="parTrans" cxnId="{14F8C6DA-95E1-4521-9875-06DD633897CD}">
      <dgm:prSet/>
      <dgm:spPr/>
    </dgm:pt>
    <dgm:pt modelId="{909CB53E-E523-4746-9CB4-96EE17052C61}" type="sibTrans" cxnId="{14F8C6DA-95E1-4521-9875-06DD633897CD}">
      <dgm:prSet/>
      <dgm:spPr/>
      <dgm:t>
        <a:bodyPr/>
        <a:lstStyle/>
        <a:p>
          <a:endParaRPr lang="en-US"/>
        </a:p>
      </dgm:t>
    </dgm:pt>
    <dgm:pt modelId="{B55E4287-18D6-44F9-9998-27DFC3DE3899}">
      <dgm:prSet phldr="0"/>
      <dgm:spPr/>
      <dgm:t>
        <a:bodyPr/>
        <a:lstStyle/>
        <a:p>
          <a:endParaRPr lang="en-US" b="1">
            <a:latin typeface="Arial"/>
            <a:cs typeface="Arial"/>
          </a:endParaRPr>
        </a:p>
      </dgm:t>
    </dgm:pt>
    <dgm:pt modelId="{E2B3B95E-8796-44D3-BBC5-932F32BF5AC2}" type="parTrans" cxnId="{38B8EFEA-2AC2-4508-B50C-D7096BAE04EF}">
      <dgm:prSet/>
      <dgm:spPr/>
    </dgm:pt>
    <dgm:pt modelId="{2F179F31-BBE7-48BC-8DC5-9CCC405069A8}" type="sibTrans" cxnId="{38B8EFEA-2AC2-4508-B50C-D7096BAE04EF}">
      <dgm:prSet/>
      <dgm:spPr/>
    </dgm:pt>
    <dgm:pt modelId="{5F275E72-DEDE-4BE9-A7B5-93C830029A15}">
      <dgm:prSet phldr="0"/>
      <dgm:spPr/>
      <dgm:t>
        <a:bodyPr/>
        <a:lstStyle/>
        <a:p>
          <a:endParaRPr lang="en-US">
            <a:latin typeface="Arial"/>
            <a:cs typeface="Arial"/>
          </a:endParaRPr>
        </a:p>
      </dgm:t>
    </dgm:pt>
    <dgm:pt modelId="{D5CCC266-121D-4FB7-B8E0-516F0C01AFEC}" type="parTrans" cxnId="{81425F3F-1CCF-4D6E-BB0F-C590667BBA3A}">
      <dgm:prSet/>
      <dgm:spPr/>
    </dgm:pt>
    <dgm:pt modelId="{E8DC0D8F-A6AC-4AF4-9AF2-322C446DCFBB}" type="sibTrans" cxnId="{81425F3F-1CCF-4D6E-BB0F-C590667BBA3A}">
      <dgm:prSet/>
      <dgm:spPr/>
    </dgm:pt>
    <dgm:pt modelId="{6AF44131-5722-4528-8937-2F2D64962EE0}">
      <dgm:prSet phldr="0"/>
      <dgm:spPr/>
      <dgm:t>
        <a:bodyPr/>
        <a:lstStyle/>
        <a:p>
          <a:endParaRPr lang="en-US" b="0">
            <a:latin typeface="Arial"/>
            <a:cs typeface="Arial"/>
          </a:endParaRPr>
        </a:p>
      </dgm:t>
    </dgm:pt>
    <dgm:pt modelId="{98702443-CD9D-4441-AC80-29164C564037}" type="parTrans" cxnId="{9C65F14F-67CC-43B9-A2E9-DA01456F543B}">
      <dgm:prSet/>
      <dgm:spPr/>
    </dgm:pt>
    <dgm:pt modelId="{5849B39F-B1B2-4986-93B1-B2E021C29B5F}" type="sibTrans" cxnId="{9C65F14F-67CC-43B9-A2E9-DA01456F543B}">
      <dgm:prSet/>
      <dgm:spPr/>
    </dgm:pt>
    <dgm:pt modelId="{358B0361-FAD6-4712-9D01-4D9D4D4C5B71}">
      <dgm:prSet phldr="0"/>
      <dgm:spPr/>
      <dgm:t>
        <a:bodyPr/>
        <a:lstStyle/>
        <a:p>
          <a:r>
            <a:rPr lang="en-US" b="1" dirty="0">
              <a:solidFill>
                <a:schemeClr val="accent1"/>
              </a:solidFill>
              <a:latin typeface="Arial"/>
              <a:cs typeface="Arial"/>
            </a:rPr>
            <a:t>President Abraham Lincoln Hotel, Springfield, IL</a:t>
          </a:r>
          <a:endParaRPr lang="en-US" b="1" dirty="0"/>
        </a:p>
      </dgm:t>
    </dgm:pt>
    <dgm:pt modelId="{27010C45-65D8-423F-A9E9-1020F07F9EA1}" type="parTrans" cxnId="{145ABA86-23C2-47A6-B88A-1443578EFE3A}">
      <dgm:prSet/>
      <dgm:spPr/>
    </dgm:pt>
    <dgm:pt modelId="{C77EEA21-7833-4153-AE31-5AC451CF88B4}" type="sibTrans" cxnId="{145ABA86-23C2-47A6-B88A-1443578EFE3A}">
      <dgm:prSet/>
      <dgm:spPr/>
    </dgm:pt>
    <dgm:pt modelId="{1B1E35D1-40F0-424A-BF9B-E81B53494A27}">
      <dgm:prSet phldr="0"/>
      <dgm:spPr/>
      <dgm:t>
        <a:bodyPr/>
        <a:lstStyle/>
        <a:p>
          <a:endParaRPr lang="en-US" b="1" u="sng">
            <a:latin typeface="Arial"/>
            <a:cs typeface="Arial"/>
          </a:endParaRPr>
        </a:p>
      </dgm:t>
    </dgm:pt>
    <dgm:pt modelId="{E86FA6C9-AE23-43EA-8E8D-9F9823D329A4}" type="parTrans" cxnId="{0E693DC4-894C-4284-B6A9-FC5BB696B153}">
      <dgm:prSet/>
      <dgm:spPr/>
    </dgm:pt>
    <dgm:pt modelId="{88046618-0E0B-4F85-8407-BD3E2D7B1520}" type="sibTrans" cxnId="{0E693DC4-894C-4284-B6A9-FC5BB696B153}">
      <dgm:prSet/>
      <dgm:spPr/>
    </dgm:pt>
    <dgm:pt modelId="{564FE7BB-3F5D-4175-BE9C-9A009F69FB67}">
      <dgm:prSet phldr="0"/>
      <dgm:spPr/>
      <dgm:t>
        <a:bodyPr/>
        <a:lstStyle/>
        <a:p>
          <a:endParaRPr lang="en-US" b="1">
            <a:latin typeface="Arial"/>
            <a:cs typeface="Arial"/>
          </a:endParaRPr>
        </a:p>
      </dgm:t>
    </dgm:pt>
    <dgm:pt modelId="{DA2D1691-B0DE-42F7-A88E-CA241CCD70CF}" type="parTrans" cxnId="{E9D14AD8-7615-4B36-B4ED-35EBF6E29CC0}">
      <dgm:prSet/>
      <dgm:spPr/>
    </dgm:pt>
    <dgm:pt modelId="{A0603EE5-9061-41DE-AD8E-9E062EB7975F}" type="sibTrans" cxnId="{E9D14AD8-7615-4B36-B4ED-35EBF6E29CC0}">
      <dgm:prSet/>
      <dgm:spPr/>
    </dgm:pt>
    <dgm:pt modelId="{8076752E-5C0E-4590-AE2A-6CD46D26E490}">
      <dgm:prSet phldr="0"/>
      <dgm:spPr/>
      <dgm:t>
        <a:bodyPr/>
        <a:lstStyle/>
        <a:p>
          <a:pPr rtl="0"/>
          <a:r>
            <a:rPr lang="en-US" b="1" dirty="0">
              <a:solidFill>
                <a:schemeClr val="accent1"/>
              </a:solidFill>
              <a:latin typeface="Arial"/>
              <a:cs typeface="Arial"/>
            </a:rPr>
            <a:t>Share your teams past year QI story </a:t>
          </a:r>
        </a:p>
      </dgm:t>
    </dgm:pt>
    <dgm:pt modelId="{46966368-712C-4754-A2F7-2A4AF287C18A}" type="parTrans" cxnId="{1A7E9453-E29A-4102-932B-49B44410EE3F}">
      <dgm:prSet/>
      <dgm:spPr/>
    </dgm:pt>
    <dgm:pt modelId="{B8FEB45E-05FA-44FB-A71D-1312798C4A87}" type="sibTrans" cxnId="{1A7E9453-E29A-4102-932B-49B44410EE3F}">
      <dgm:prSet/>
      <dgm:spPr/>
    </dgm:pt>
    <dgm:pt modelId="{709DFC08-723E-4F27-8CED-E4BB59F4ED34}" type="pres">
      <dgm:prSet presAssocID="{1F7A72CD-D92F-4C60-BE1A-7BC2D023BB05}" presName="Name0" presStyleCnt="0">
        <dgm:presLayoutVars>
          <dgm:dir/>
          <dgm:animLvl val="lvl"/>
          <dgm:resizeHandles val="exact"/>
        </dgm:presLayoutVars>
      </dgm:prSet>
      <dgm:spPr/>
    </dgm:pt>
    <dgm:pt modelId="{E5766F4E-7CA4-429C-A33C-26DF49F6B700}" type="pres">
      <dgm:prSet presAssocID="{1F7A72CD-D92F-4C60-BE1A-7BC2D023BB05}" presName="tSp" presStyleCnt="0"/>
      <dgm:spPr/>
    </dgm:pt>
    <dgm:pt modelId="{3DAA75A7-C214-4504-A8B7-89D372992969}" type="pres">
      <dgm:prSet presAssocID="{1F7A72CD-D92F-4C60-BE1A-7BC2D023BB05}" presName="bSp" presStyleCnt="0"/>
      <dgm:spPr/>
    </dgm:pt>
    <dgm:pt modelId="{322A5182-A506-465F-920D-CD7CF4C2294F}" type="pres">
      <dgm:prSet presAssocID="{1F7A72CD-D92F-4C60-BE1A-7BC2D023BB05}" presName="process" presStyleCnt="0"/>
      <dgm:spPr/>
    </dgm:pt>
    <dgm:pt modelId="{F72D2409-8F2F-4849-8259-0C10A3E473A3}" type="pres">
      <dgm:prSet presAssocID="{019695E6-A658-4897-80F2-A08CC8E51471}" presName="composite1" presStyleCnt="0"/>
      <dgm:spPr/>
    </dgm:pt>
    <dgm:pt modelId="{F978296F-A8E9-4B6C-9E89-B00C76F27904}" type="pres">
      <dgm:prSet presAssocID="{019695E6-A658-4897-80F2-A08CC8E51471}" presName="dummyNode1" presStyleLbl="node1" presStyleIdx="0" presStyleCnt="3"/>
      <dgm:spPr/>
    </dgm:pt>
    <dgm:pt modelId="{84D1DD7D-4364-4FC0-BD7A-6D752EA0C43B}" type="pres">
      <dgm:prSet presAssocID="{019695E6-A658-4897-80F2-A08CC8E51471}" presName="childNode1" presStyleLbl="bgAcc1" presStyleIdx="0" presStyleCnt="3">
        <dgm:presLayoutVars>
          <dgm:bulletEnabled val="1"/>
        </dgm:presLayoutVars>
      </dgm:prSet>
      <dgm:spPr/>
    </dgm:pt>
    <dgm:pt modelId="{A60DA086-521F-49F7-B410-B76140292A44}" type="pres">
      <dgm:prSet presAssocID="{019695E6-A658-4897-80F2-A08CC8E51471}" presName="childNode1tx" presStyleLbl="bgAcc1" presStyleIdx="0" presStyleCnt="3">
        <dgm:presLayoutVars>
          <dgm:bulletEnabled val="1"/>
        </dgm:presLayoutVars>
      </dgm:prSet>
      <dgm:spPr/>
    </dgm:pt>
    <dgm:pt modelId="{EDF25B74-59DB-459F-AE5B-545FBC851F87}" type="pres">
      <dgm:prSet presAssocID="{019695E6-A658-4897-80F2-A08CC8E51471}" presName="parentNode1" presStyleLbl="node1" presStyleIdx="0" presStyleCnt="3">
        <dgm:presLayoutVars>
          <dgm:chMax val="1"/>
          <dgm:bulletEnabled val="1"/>
        </dgm:presLayoutVars>
      </dgm:prSet>
      <dgm:spPr/>
    </dgm:pt>
    <dgm:pt modelId="{B6CFFC37-C078-435F-8573-21EDD13F05A5}" type="pres">
      <dgm:prSet presAssocID="{019695E6-A658-4897-80F2-A08CC8E51471}" presName="connSite1" presStyleCnt="0"/>
      <dgm:spPr/>
    </dgm:pt>
    <dgm:pt modelId="{45570AD1-CF0C-47D8-981B-8E7712F67C98}" type="pres">
      <dgm:prSet presAssocID="{91B26892-AE2C-4A26-9563-AE9E9F1FA72C}" presName="Name9" presStyleLbl="sibTrans2D1" presStyleIdx="0" presStyleCnt="2"/>
      <dgm:spPr/>
    </dgm:pt>
    <dgm:pt modelId="{8465115B-D14A-459E-A2D7-FECE94332404}" type="pres">
      <dgm:prSet presAssocID="{5C1DD914-EF33-4EF3-B221-C3F33C853A5A}" presName="composite2" presStyleCnt="0"/>
      <dgm:spPr/>
    </dgm:pt>
    <dgm:pt modelId="{EA155C6B-9766-4E61-8630-BB808B2219D0}" type="pres">
      <dgm:prSet presAssocID="{5C1DD914-EF33-4EF3-B221-C3F33C853A5A}" presName="dummyNode2" presStyleLbl="node1" presStyleIdx="0" presStyleCnt="3"/>
      <dgm:spPr/>
    </dgm:pt>
    <dgm:pt modelId="{E4540ED4-266A-4F12-A6E6-014BC83EACEC}" type="pres">
      <dgm:prSet presAssocID="{5C1DD914-EF33-4EF3-B221-C3F33C853A5A}" presName="childNode2" presStyleLbl="bgAcc1" presStyleIdx="1" presStyleCnt="3">
        <dgm:presLayoutVars>
          <dgm:bulletEnabled val="1"/>
        </dgm:presLayoutVars>
      </dgm:prSet>
      <dgm:spPr/>
    </dgm:pt>
    <dgm:pt modelId="{4C86C687-4965-4DA2-80D1-EE1EC7C9996A}" type="pres">
      <dgm:prSet presAssocID="{5C1DD914-EF33-4EF3-B221-C3F33C853A5A}" presName="childNode2tx" presStyleLbl="bgAcc1" presStyleIdx="1" presStyleCnt="3">
        <dgm:presLayoutVars>
          <dgm:bulletEnabled val="1"/>
        </dgm:presLayoutVars>
      </dgm:prSet>
      <dgm:spPr/>
    </dgm:pt>
    <dgm:pt modelId="{CF5C580D-10AF-44A7-8FE5-3CB764BF1B81}" type="pres">
      <dgm:prSet presAssocID="{5C1DD914-EF33-4EF3-B221-C3F33C853A5A}" presName="parentNode2" presStyleLbl="node1" presStyleIdx="1" presStyleCnt="3">
        <dgm:presLayoutVars>
          <dgm:chMax val="0"/>
          <dgm:bulletEnabled val="1"/>
        </dgm:presLayoutVars>
      </dgm:prSet>
      <dgm:spPr/>
    </dgm:pt>
    <dgm:pt modelId="{BF8E9B54-530D-4B45-9AC2-00920F5E7602}" type="pres">
      <dgm:prSet presAssocID="{5C1DD914-EF33-4EF3-B221-C3F33C853A5A}" presName="connSite2" presStyleCnt="0"/>
      <dgm:spPr/>
    </dgm:pt>
    <dgm:pt modelId="{1D37E62D-9731-4C64-8EAB-56792DAF9616}" type="pres">
      <dgm:prSet presAssocID="{F621EE85-7E3C-4D1D-A5C4-83C833F67D2F}" presName="Name18" presStyleLbl="sibTrans2D1" presStyleIdx="1" presStyleCnt="2"/>
      <dgm:spPr/>
    </dgm:pt>
    <dgm:pt modelId="{EDB8BD8D-C06E-48A9-8FB9-4DFB77FD3F78}" type="pres">
      <dgm:prSet presAssocID="{38870418-F509-4025-AB43-C99E58E9D509}" presName="composite1" presStyleCnt="0"/>
      <dgm:spPr/>
    </dgm:pt>
    <dgm:pt modelId="{AF49B990-5CFC-4B6A-8C56-2B3D1124C87B}" type="pres">
      <dgm:prSet presAssocID="{38870418-F509-4025-AB43-C99E58E9D509}" presName="dummyNode1" presStyleLbl="node1" presStyleIdx="1" presStyleCnt="3"/>
      <dgm:spPr/>
    </dgm:pt>
    <dgm:pt modelId="{4EC3BF90-59CB-4CD5-8E65-F8EECE8EB3B7}" type="pres">
      <dgm:prSet presAssocID="{38870418-F509-4025-AB43-C99E58E9D509}" presName="childNode1" presStyleLbl="bgAcc1" presStyleIdx="2" presStyleCnt="3" custScaleX="109850" custLinFactNeighborX="-7301" custLinFactNeighborY="-321">
        <dgm:presLayoutVars>
          <dgm:bulletEnabled val="1"/>
        </dgm:presLayoutVars>
      </dgm:prSet>
      <dgm:spPr/>
    </dgm:pt>
    <dgm:pt modelId="{181AE6C3-DD1F-404A-B8D7-ACED8D5145E3}" type="pres">
      <dgm:prSet presAssocID="{38870418-F509-4025-AB43-C99E58E9D509}" presName="childNode1tx" presStyleLbl="bgAcc1" presStyleIdx="2" presStyleCnt="3">
        <dgm:presLayoutVars>
          <dgm:bulletEnabled val="1"/>
        </dgm:presLayoutVars>
      </dgm:prSet>
      <dgm:spPr/>
    </dgm:pt>
    <dgm:pt modelId="{2A29C3C5-932D-4B6F-8969-B5E5B16FD239}" type="pres">
      <dgm:prSet presAssocID="{38870418-F509-4025-AB43-C99E58E9D509}" presName="parentNode1" presStyleLbl="node1" presStyleIdx="2" presStyleCnt="3">
        <dgm:presLayoutVars>
          <dgm:chMax val="1"/>
          <dgm:bulletEnabled val="1"/>
        </dgm:presLayoutVars>
      </dgm:prSet>
      <dgm:spPr/>
    </dgm:pt>
    <dgm:pt modelId="{6CA20D3B-B274-4984-82DA-98EBC47D86D8}" type="pres">
      <dgm:prSet presAssocID="{38870418-F509-4025-AB43-C99E58E9D509}" presName="connSite1" presStyleCnt="0"/>
      <dgm:spPr/>
    </dgm:pt>
  </dgm:ptLst>
  <dgm:cxnLst>
    <dgm:cxn modelId="{FBE1830E-130E-405B-8C5C-4CD04063EC80}" type="presOf" srcId="{3456AB0F-96D4-4A97-8F82-64AE552EF6FB}" destId="{A60DA086-521F-49F7-B410-B76140292A44}" srcOrd="1" destOrd="2" presId="urn:microsoft.com/office/officeart/2005/8/layout/hProcess4"/>
    <dgm:cxn modelId="{1025DF0E-8AF9-40EF-8967-1EBC738C1B03}" type="presOf" srcId="{1FAFA9EB-E8A9-463D-AF35-5071306926A9}" destId="{84D1DD7D-4364-4FC0-BD7A-6D752EA0C43B}" srcOrd="0" destOrd="6" presId="urn:microsoft.com/office/officeart/2005/8/layout/hProcess4"/>
    <dgm:cxn modelId="{6B14EE19-04F4-4490-829F-618714C7D9E6}" type="presOf" srcId="{5C1DD914-EF33-4EF3-B221-C3F33C853A5A}" destId="{CF5C580D-10AF-44A7-8FE5-3CB764BF1B81}" srcOrd="0" destOrd="0" presId="urn:microsoft.com/office/officeart/2005/8/layout/hProcess4"/>
    <dgm:cxn modelId="{E317671D-EEA1-47D7-BD62-D90678FD2D26}" type="presOf" srcId="{6AF44131-5722-4528-8937-2F2D64962EE0}" destId="{A60DA086-521F-49F7-B410-B76140292A44}" srcOrd="1" destOrd="5" presId="urn:microsoft.com/office/officeart/2005/8/layout/hProcess4"/>
    <dgm:cxn modelId="{BFA61E20-99D1-42F0-BFE4-FD77A50271C3}" type="presOf" srcId="{B692733A-5AE6-4ECB-8111-57F9EDD9409F}" destId="{E4540ED4-266A-4F12-A6E6-014BC83EACEC}" srcOrd="0" destOrd="2" presId="urn:microsoft.com/office/officeart/2005/8/layout/hProcess4"/>
    <dgm:cxn modelId="{BA632924-67ED-4ECF-9A7B-9C1A161F2962}" srcId="{5C1DD914-EF33-4EF3-B221-C3F33C853A5A}" destId="{B6FEE040-5E22-4FBA-80BD-772A56465F90}" srcOrd="0" destOrd="0" parTransId="{8CE72970-5FE5-419C-8904-F03CDA749BCA}" sibTransId="{C7937236-40A7-4EEE-A278-4CA99EC3F59C}"/>
    <dgm:cxn modelId="{C8AE292B-D05B-4FF2-A2B7-F9DFE63A71AE}" type="presOf" srcId="{B692733A-5AE6-4ECB-8111-57F9EDD9409F}" destId="{4C86C687-4965-4DA2-80D1-EE1EC7C9996A}" srcOrd="1" destOrd="2" presId="urn:microsoft.com/office/officeart/2005/8/layout/hProcess4"/>
    <dgm:cxn modelId="{5B123430-B372-471C-9E52-79D9461B1ACB}" type="presOf" srcId="{99B110F8-6A29-4B06-8B52-0FF5AC6D254D}" destId="{4EC3BF90-59CB-4CD5-8E65-F8EECE8EB3B7}" srcOrd="0" destOrd="3" presId="urn:microsoft.com/office/officeart/2005/8/layout/hProcess4"/>
    <dgm:cxn modelId="{FF256B35-F04C-4733-952A-A852C43996C1}" type="presOf" srcId="{91B26892-AE2C-4A26-9563-AE9E9F1FA72C}" destId="{45570AD1-CF0C-47D8-981B-8E7712F67C98}" srcOrd="0" destOrd="0" presId="urn:microsoft.com/office/officeart/2005/8/layout/hProcess4"/>
    <dgm:cxn modelId="{AAC1DD3A-A3EE-4CA7-BACD-DE838CBFCCC1}" type="presOf" srcId="{1FAFA9EB-E8A9-463D-AF35-5071306926A9}" destId="{A60DA086-521F-49F7-B410-B76140292A44}" srcOrd="1" destOrd="6" presId="urn:microsoft.com/office/officeart/2005/8/layout/hProcess4"/>
    <dgm:cxn modelId="{8724403D-EAB0-4B31-936A-7C2A2EEE410A}" type="presOf" srcId="{38870418-F509-4025-AB43-C99E58E9D509}" destId="{2A29C3C5-932D-4B6F-8969-B5E5B16FD239}" srcOrd="0" destOrd="0" presId="urn:microsoft.com/office/officeart/2005/8/layout/hProcess4"/>
    <dgm:cxn modelId="{81425F3F-1CCF-4D6E-BB0F-C590667BBA3A}" srcId="{019695E6-A658-4897-80F2-A08CC8E51471}" destId="{5F275E72-DEDE-4BE9-A7B5-93C830029A15}" srcOrd="3" destOrd="0" parTransId="{D5CCC266-121D-4FB7-B8E0-516F0C01AFEC}" sibTransId="{E8DC0D8F-A6AC-4AF4-9AF2-322C446DCFBB}"/>
    <dgm:cxn modelId="{DA35413F-16A0-4FBA-B218-10D3E4F6732F}" srcId="{1F7A72CD-D92F-4C60-BE1A-7BC2D023BB05}" destId="{38870418-F509-4025-AB43-C99E58E9D509}" srcOrd="2" destOrd="0" parTransId="{9C76E2A0-B157-420D-8410-B5B6DDAAAFE6}" sibTransId="{8329EFE1-D519-46F7-9819-CE374241DFA4}"/>
    <dgm:cxn modelId="{B5F60248-4D2F-4539-916D-182CAAE0DAE1}" type="presOf" srcId="{5F275E72-DEDE-4BE9-A7B5-93C830029A15}" destId="{A60DA086-521F-49F7-B410-B76140292A44}" srcOrd="1" destOrd="3" presId="urn:microsoft.com/office/officeart/2005/8/layout/hProcess4"/>
    <dgm:cxn modelId="{D0C5C968-8BE5-48EA-8C09-706A92AB48B5}" srcId="{38870418-F509-4025-AB43-C99E58E9D509}" destId="{99B110F8-6A29-4B06-8B52-0FF5AC6D254D}" srcOrd="3" destOrd="0" parTransId="{412B8E3B-A82C-4A7B-9FC8-1B3F408D4184}" sibTransId="{A07D58BA-57FF-4630-9AC9-A0F60EC5736C}"/>
    <dgm:cxn modelId="{9C65F14F-67CC-43B9-A2E9-DA01456F543B}" srcId="{019695E6-A658-4897-80F2-A08CC8E51471}" destId="{6AF44131-5722-4528-8937-2F2D64962EE0}" srcOrd="5" destOrd="0" parTransId="{98702443-CD9D-4441-AC80-29164C564037}" sibTransId="{5849B39F-B1B2-4986-93B1-B2E021C29B5F}"/>
    <dgm:cxn modelId="{E1CE4352-9C0E-484E-8CC5-03985C6EF0D2}" type="presOf" srcId="{5F275E72-DEDE-4BE9-A7B5-93C830029A15}" destId="{84D1DD7D-4364-4FC0-BD7A-6D752EA0C43B}" srcOrd="0" destOrd="3" presId="urn:microsoft.com/office/officeart/2005/8/layout/hProcess4"/>
    <dgm:cxn modelId="{1A7E9453-E29A-4102-932B-49B44410EE3F}" srcId="{38870418-F509-4025-AB43-C99E58E9D509}" destId="{8076752E-5C0E-4590-AE2A-6CD46D26E490}" srcOrd="1" destOrd="0" parTransId="{46966368-712C-4754-A2F7-2A4AF287C18A}" sibTransId="{B8FEB45E-05FA-44FB-A71D-1312798C4A87}"/>
    <dgm:cxn modelId="{73B62374-B279-4EB3-B133-ABA26F3780E1}" srcId="{38870418-F509-4025-AB43-C99E58E9D509}" destId="{3DE293D2-6123-404E-A2C4-31713D59157B}" srcOrd="4" destOrd="0" parTransId="{70FB02EA-3F70-46C7-96FD-12AC172E9174}" sibTransId="{7BE67B6B-00C9-4D6D-8701-A8D78BA26FFA}"/>
    <dgm:cxn modelId="{2E9AEF78-8EE1-4DEB-AE94-42D1B27E4D69}" type="presOf" srcId="{564FE7BB-3F5D-4175-BE9C-9A009F69FB67}" destId="{181AE6C3-DD1F-404A-B8D7-ACED8D5145E3}" srcOrd="1" destOrd="2" presId="urn:microsoft.com/office/officeart/2005/8/layout/hProcess4"/>
    <dgm:cxn modelId="{145B4A82-B995-4537-B836-1289DA207F34}" type="presOf" srcId="{019695E6-A658-4897-80F2-A08CC8E51471}" destId="{EDF25B74-59DB-459F-AE5B-545FBC851F87}" srcOrd="0" destOrd="0" presId="urn:microsoft.com/office/officeart/2005/8/layout/hProcess4"/>
    <dgm:cxn modelId="{145ABA86-23C2-47A6-B88A-1443578EFE3A}" srcId="{019695E6-A658-4897-80F2-A08CC8E51471}" destId="{358B0361-FAD6-4712-9D01-4D9D4D4C5B71}" srcOrd="0" destOrd="0" parTransId="{27010C45-65D8-423F-A9E9-1020F07F9EA1}" sibTransId="{C77EEA21-7833-4153-AE31-5AC451CF88B4}"/>
    <dgm:cxn modelId="{CF65DE88-0D34-4891-BAB5-1A75A80B7C2A}" type="presOf" srcId="{05769790-14E8-4148-9EFC-2DA79A5686F2}" destId="{A60DA086-521F-49F7-B410-B76140292A44}" srcOrd="1" destOrd="4" presId="urn:microsoft.com/office/officeart/2005/8/layout/hProcess4"/>
    <dgm:cxn modelId="{08688789-0512-4B1B-A5AA-F722A4BD6B0D}" type="presOf" srcId="{D9C7E703-DE61-45CD-A076-3B7868D3DE65}" destId="{4EC3BF90-59CB-4CD5-8E65-F8EECE8EB3B7}" srcOrd="0" destOrd="0" presId="urn:microsoft.com/office/officeart/2005/8/layout/hProcess4"/>
    <dgm:cxn modelId="{3A93478E-D4ED-4F8C-A17D-B11B5601D3B4}" type="presOf" srcId="{1B1E35D1-40F0-424A-BF9B-E81B53494A27}" destId="{4C86C687-4965-4DA2-80D1-EE1EC7C9996A}" srcOrd="1" destOrd="1" presId="urn:microsoft.com/office/officeart/2005/8/layout/hProcess4"/>
    <dgm:cxn modelId="{ABAF1395-9A49-40D2-BD7B-2FE7CD74AA24}" srcId="{5C1DD914-EF33-4EF3-B221-C3F33C853A5A}" destId="{B692733A-5AE6-4ECB-8111-57F9EDD9409F}" srcOrd="2" destOrd="0" parTransId="{26F0D997-187B-4259-A25A-8043A7B50CC5}" sibTransId="{6C5D385B-F1D8-49C4-BE45-F31745C0EC23}"/>
    <dgm:cxn modelId="{2C2ABC9C-FDA1-4D17-A69A-C242F6CA252D}" type="presOf" srcId="{3DE293D2-6123-404E-A2C4-31713D59157B}" destId="{4EC3BF90-59CB-4CD5-8E65-F8EECE8EB3B7}" srcOrd="0" destOrd="4" presId="urn:microsoft.com/office/officeart/2005/8/layout/hProcess4"/>
    <dgm:cxn modelId="{FA425D9F-B81D-4DB1-AC29-A76966A6C87B}" type="presOf" srcId="{564FE7BB-3F5D-4175-BE9C-9A009F69FB67}" destId="{4EC3BF90-59CB-4CD5-8E65-F8EECE8EB3B7}" srcOrd="0" destOrd="2" presId="urn:microsoft.com/office/officeart/2005/8/layout/hProcess4"/>
    <dgm:cxn modelId="{41419AA3-01B9-406C-93F8-6742B76EFC2D}" type="presOf" srcId="{B6FEE040-5E22-4FBA-80BD-772A56465F90}" destId="{4C86C687-4965-4DA2-80D1-EE1EC7C9996A}" srcOrd="1" destOrd="0" presId="urn:microsoft.com/office/officeart/2005/8/layout/hProcess4"/>
    <dgm:cxn modelId="{D57DC5A3-62AB-4A91-BBF8-F2DF04AF875E}" srcId="{019695E6-A658-4897-80F2-A08CC8E51471}" destId="{3456AB0F-96D4-4A97-8F82-64AE552EF6FB}" srcOrd="2" destOrd="0" parTransId="{284D4E98-45C6-4808-A7A3-BF108FD2DDFB}" sibTransId="{9E69DAB2-AA26-49ED-A477-8A58EC04F4DD}"/>
    <dgm:cxn modelId="{1E53ABA5-41B2-4D1A-972F-5E6CB2DDDD8D}" type="presOf" srcId="{F621EE85-7E3C-4D1D-A5C4-83C833F67D2F}" destId="{1D37E62D-9731-4C64-8EAB-56792DAF9616}" srcOrd="0" destOrd="0" presId="urn:microsoft.com/office/officeart/2005/8/layout/hProcess4"/>
    <dgm:cxn modelId="{E4CF87A7-5229-44E6-8B7F-268AF8628575}" srcId="{38870418-F509-4025-AB43-C99E58E9D509}" destId="{D9C7E703-DE61-45CD-A076-3B7868D3DE65}" srcOrd="0" destOrd="0" parTransId="{6C4A08EF-FCAD-407D-8F21-9E4C9FF1A351}" sibTransId="{B4AA8A62-5BB9-4CA4-827A-ECB285FBE9D9}"/>
    <dgm:cxn modelId="{39813BA8-4D36-4C70-831C-9048A0CFFA76}" type="presOf" srcId="{6AF44131-5722-4528-8937-2F2D64962EE0}" destId="{84D1DD7D-4364-4FC0-BD7A-6D752EA0C43B}" srcOrd="0" destOrd="5" presId="urn:microsoft.com/office/officeart/2005/8/layout/hProcess4"/>
    <dgm:cxn modelId="{903A6FA8-8D32-4EB6-B842-42A7CB3CDF3C}" type="presOf" srcId="{358B0361-FAD6-4712-9D01-4D9D4D4C5B71}" destId="{A60DA086-521F-49F7-B410-B76140292A44}" srcOrd="1" destOrd="0" presId="urn:microsoft.com/office/officeart/2005/8/layout/hProcess4"/>
    <dgm:cxn modelId="{916F0AB3-B677-4475-AD2A-B3AAF0878350}" type="presOf" srcId="{99B110F8-6A29-4B06-8B52-0FF5AC6D254D}" destId="{181AE6C3-DD1F-404A-B8D7-ACED8D5145E3}" srcOrd="1" destOrd="3" presId="urn:microsoft.com/office/officeart/2005/8/layout/hProcess4"/>
    <dgm:cxn modelId="{68FC41B3-496C-43C6-B2B1-E9506AC09D6E}" type="presOf" srcId="{8076752E-5C0E-4590-AE2A-6CD46D26E490}" destId="{4EC3BF90-59CB-4CD5-8E65-F8EECE8EB3B7}" srcOrd="0" destOrd="1" presId="urn:microsoft.com/office/officeart/2005/8/layout/hProcess4"/>
    <dgm:cxn modelId="{C22D02B5-81B3-4DC6-A4F8-7903BD09E02E}" type="presOf" srcId="{8076752E-5C0E-4590-AE2A-6CD46D26E490}" destId="{181AE6C3-DD1F-404A-B8D7-ACED8D5145E3}" srcOrd="1" destOrd="1" presId="urn:microsoft.com/office/officeart/2005/8/layout/hProcess4"/>
    <dgm:cxn modelId="{23DF3AB5-85D8-423F-9DB8-F71B5D91EBE9}" type="presOf" srcId="{3DE293D2-6123-404E-A2C4-31713D59157B}" destId="{181AE6C3-DD1F-404A-B8D7-ACED8D5145E3}" srcOrd="1" destOrd="4" presId="urn:microsoft.com/office/officeart/2005/8/layout/hProcess4"/>
    <dgm:cxn modelId="{BC5E16B8-288E-4BAD-B564-62DA4E67A0F7}" type="presOf" srcId="{358B0361-FAD6-4712-9D01-4D9D4D4C5B71}" destId="{84D1DD7D-4364-4FC0-BD7A-6D752EA0C43B}" srcOrd="0" destOrd="0" presId="urn:microsoft.com/office/officeart/2005/8/layout/hProcess4"/>
    <dgm:cxn modelId="{F53691BC-C040-4E08-9B0F-F6897E7C10AD}" type="presOf" srcId="{1B1E35D1-40F0-424A-BF9B-E81B53494A27}" destId="{E4540ED4-266A-4F12-A6E6-014BC83EACEC}" srcOrd="0" destOrd="1" presId="urn:microsoft.com/office/officeart/2005/8/layout/hProcess4"/>
    <dgm:cxn modelId="{0E693DC4-894C-4284-B6A9-FC5BB696B153}" srcId="{5C1DD914-EF33-4EF3-B221-C3F33C853A5A}" destId="{1B1E35D1-40F0-424A-BF9B-E81B53494A27}" srcOrd="1" destOrd="0" parTransId="{E86FA6C9-AE23-43EA-8E8D-9F9823D329A4}" sibTransId="{88046618-0E0B-4F85-8407-BD3E2D7B1520}"/>
    <dgm:cxn modelId="{AD66E8C7-2AF9-4795-BF53-F9B54D9ACAD3}" srcId="{019695E6-A658-4897-80F2-A08CC8E51471}" destId="{05769790-14E8-4148-9EFC-2DA79A5686F2}" srcOrd="4" destOrd="0" parTransId="{E61EDA08-B100-421F-BC98-E5710E28E044}" sibTransId="{792B1C38-7CC7-43E8-85FE-86B5CFE34B39}"/>
    <dgm:cxn modelId="{6EFF93C8-0699-4536-9CB9-F6FBDC405BEA}" type="presOf" srcId="{3456AB0F-96D4-4A97-8F82-64AE552EF6FB}" destId="{84D1DD7D-4364-4FC0-BD7A-6D752EA0C43B}" srcOrd="0" destOrd="2" presId="urn:microsoft.com/office/officeart/2005/8/layout/hProcess4"/>
    <dgm:cxn modelId="{C0F52AD4-B4F8-41F8-B1E1-BF422735979D}" srcId="{1F7A72CD-D92F-4C60-BE1A-7BC2D023BB05}" destId="{5C1DD914-EF33-4EF3-B221-C3F33C853A5A}" srcOrd="1" destOrd="0" parTransId="{7B5EAACE-94C5-4928-9134-CA8DE1E36EAC}" sibTransId="{F621EE85-7E3C-4D1D-A5C4-83C833F67D2F}"/>
    <dgm:cxn modelId="{E9D14AD8-7615-4B36-B4ED-35EBF6E29CC0}" srcId="{38870418-F509-4025-AB43-C99E58E9D509}" destId="{564FE7BB-3F5D-4175-BE9C-9A009F69FB67}" srcOrd="2" destOrd="0" parTransId="{DA2D1691-B0DE-42F7-A88E-CA241CCD70CF}" sibTransId="{A0603EE5-9061-41DE-AD8E-9E062EB7975F}"/>
    <dgm:cxn modelId="{14F8C6DA-95E1-4521-9875-06DD633897CD}" srcId="{019695E6-A658-4897-80F2-A08CC8E51471}" destId="{1FAFA9EB-E8A9-463D-AF35-5071306926A9}" srcOrd="6" destOrd="0" parTransId="{68183127-8420-483B-A71A-713799AA4CF1}" sibTransId="{909CB53E-E523-4746-9CB4-96EE17052C61}"/>
    <dgm:cxn modelId="{3848B0DE-80FD-4196-BC9E-FC89C06E50C4}" type="presOf" srcId="{B6FEE040-5E22-4FBA-80BD-772A56465F90}" destId="{E4540ED4-266A-4F12-A6E6-014BC83EACEC}" srcOrd="0" destOrd="0" presId="urn:microsoft.com/office/officeart/2005/8/layout/hProcess4"/>
    <dgm:cxn modelId="{980A31E5-9F71-46F1-BB00-830F7871791E}" type="presOf" srcId="{B55E4287-18D6-44F9-9998-27DFC3DE3899}" destId="{A60DA086-521F-49F7-B410-B76140292A44}" srcOrd="1" destOrd="1" presId="urn:microsoft.com/office/officeart/2005/8/layout/hProcess4"/>
    <dgm:cxn modelId="{769B16E8-489C-4724-A9BD-746444FF4798}" type="presOf" srcId="{1F7A72CD-D92F-4C60-BE1A-7BC2D023BB05}" destId="{709DFC08-723E-4F27-8CED-E4BB59F4ED34}" srcOrd="0" destOrd="0" presId="urn:microsoft.com/office/officeart/2005/8/layout/hProcess4"/>
    <dgm:cxn modelId="{38B8EFEA-2AC2-4508-B50C-D7096BAE04EF}" srcId="{019695E6-A658-4897-80F2-A08CC8E51471}" destId="{B55E4287-18D6-44F9-9998-27DFC3DE3899}" srcOrd="1" destOrd="0" parTransId="{E2B3B95E-8796-44D3-BBC5-932F32BF5AC2}" sibTransId="{2F179F31-BBE7-48BC-8DC5-9CCC405069A8}"/>
    <dgm:cxn modelId="{A4AFEBEB-CADA-4C5F-8F8A-8794CC02B16A}" type="presOf" srcId="{D9C7E703-DE61-45CD-A076-3B7868D3DE65}" destId="{181AE6C3-DD1F-404A-B8D7-ACED8D5145E3}" srcOrd="1" destOrd="0" presId="urn:microsoft.com/office/officeart/2005/8/layout/hProcess4"/>
    <dgm:cxn modelId="{E6A3CBF4-6DCE-4383-8444-BEE5F48809C6}" srcId="{1F7A72CD-D92F-4C60-BE1A-7BC2D023BB05}" destId="{019695E6-A658-4897-80F2-A08CC8E51471}" srcOrd="0" destOrd="0" parTransId="{B686F262-5B44-47A7-8841-EAC8EC87E6C1}" sibTransId="{91B26892-AE2C-4A26-9563-AE9E9F1FA72C}"/>
    <dgm:cxn modelId="{81296BF5-0A39-4290-8DDC-9BF13F0BC307}" type="presOf" srcId="{05769790-14E8-4148-9EFC-2DA79A5686F2}" destId="{84D1DD7D-4364-4FC0-BD7A-6D752EA0C43B}" srcOrd="0" destOrd="4" presId="urn:microsoft.com/office/officeart/2005/8/layout/hProcess4"/>
    <dgm:cxn modelId="{DD5151F7-19A1-40CE-BDBA-DAC31ED1C088}" type="presOf" srcId="{B55E4287-18D6-44F9-9998-27DFC3DE3899}" destId="{84D1DD7D-4364-4FC0-BD7A-6D752EA0C43B}" srcOrd="0" destOrd="1" presId="urn:microsoft.com/office/officeart/2005/8/layout/hProcess4"/>
    <dgm:cxn modelId="{44996EEC-F8D4-4C25-88CC-A65C98CA3433}" type="presParOf" srcId="{709DFC08-723E-4F27-8CED-E4BB59F4ED34}" destId="{E5766F4E-7CA4-429C-A33C-26DF49F6B700}" srcOrd="0" destOrd="0" presId="urn:microsoft.com/office/officeart/2005/8/layout/hProcess4"/>
    <dgm:cxn modelId="{077B4AF3-8F27-4ACA-9E46-6C650F4ACE50}" type="presParOf" srcId="{709DFC08-723E-4F27-8CED-E4BB59F4ED34}" destId="{3DAA75A7-C214-4504-A8B7-89D372992969}" srcOrd="1" destOrd="0" presId="urn:microsoft.com/office/officeart/2005/8/layout/hProcess4"/>
    <dgm:cxn modelId="{1119EA7B-8738-4F40-B21A-B041ECCDC7C0}" type="presParOf" srcId="{709DFC08-723E-4F27-8CED-E4BB59F4ED34}" destId="{322A5182-A506-465F-920D-CD7CF4C2294F}" srcOrd="2" destOrd="0" presId="urn:microsoft.com/office/officeart/2005/8/layout/hProcess4"/>
    <dgm:cxn modelId="{C0AD3CB8-9DEB-46B6-8867-35150BCDB7E0}" type="presParOf" srcId="{322A5182-A506-465F-920D-CD7CF4C2294F}" destId="{F72D2409-8F2F-4849-8259-0C10A3E473A3}" srcOrd="0" destOrd="0" presId="urn:microsoft.com/office/officeart/2005/8/layout/hProcess4"/>
    <dgm:cxn modelId="{5971715F-E62C-43FC-8475-8B5FF7ACECC6}" type="presParOf" srcId="{F72D2409-8F2F-4849-8259-0C10A3E473A3}" destId="{F978296F-A8E9-4B6C-9E89-B00C76F27904}" srcOrd="0" destOrd="0" presId="urn:microsoft.com/office/officeart/2005/8/layout/hProcess4"/>
    <dgm:cxn modelId="{8F08B218-3FEC-412F-85D8-FE6B4BDD701F}" type="presParOf" srcId="{F72D2409-8F2F-4849-8259-0C10A3E473A3}" destId="{84D1DD7D-4364-4FC0-BD7A-6D752EA0C43B}" srcOrd="1" destOrd="0" presId="urn:microsoft.com/office/officeart/2005/8/layout/hProcess4"/>
    <dgm:cxn modelId="{F234F901-7A0A-4EC8-820E-596480C74D9F}" type="presParOf" srcId="{F72D2409-8F2F-4849-8259-0C10A3E473A3}" destId="{A60DA086-521F-49F7-B410-B76140292A44}" srcOrd="2" destOrd="0" presId="urn:microsoft.com/office/officeart/2005/8/layout/hProcess4"/>
    <dgm:cxn modelId="{7599BC24-66C0-4473-8304-0DA5061E9E58}" type="presParOf" srcId="{F72D2409-8F2F-4849-8259-0C10A3E473A3}" destId="{EDF25B74-59DB-459F-AE5B-545FBC851F87}" srcOrd="3" destOrd="0" presId="urn:microsoft.com/office/officeart/2005/8/layout/hProcess4"/>
    <dgm:cxn modelId="{C1001270-F4F5-4881-A836-D35D4A01269C}" type="presParOf" srcId="{F72D2409-8F2F-4849-8259-0C10A3E473A3}" destId="{B6CFFC37-C078-435F-8573-21EDD13F05A5}" srcOrd="4" destOrd="0" presId="urn:microsoft.com/office/officeart/2005/8/layout/hProcess4"/>
    <dgm:cxn modelId="{8DEE1865-FB4B-473D-BE35-6A4C5B0F79D9}" type="presParOf" srcId="{322A5182-A506-465F-920D-CD7CF4C2294F}" destId="{45570AD1-CF0C-47D8-981B-8E7712F67C98}" srcOrd="1" destOrd="0" presId="urn:microsoft.com/office/officeart/2005/8/layout/hProcess4"/>
    <dgm:cxn modelId="{7454FFBA-1D1C-4D38-A5AE-59695260C10E}" type="presParOf" srcId="{322A5182-A506-465F-920D-CD7CF4C2294F}" destId="{8465115B-D14A-459E-A2D7-FECE94332404}" srcOrd="2" destOrd="0" presId="urn:microsoft.com/office/officeart/2005/8/layout/hProcess4"/>
    <dgm:cxn modelId="{7EACCD08-2986-476D-A96F-6C2C3A485784}" type="presParOf" srcId="{8465115B-D14A-459E-A2D7-FECE94332404}" destId="{EA155C6B-9766-4E61-8630-BB808B2219D0}" srcOrd="0" destOrd="0" presId="urn:microsoft.com/office/officeart/2005/8/layout/hProcess4"/>
    <dgm:cxn modelId="{5593D74D-C5E5-4571-9BE9-E9EF7A562444}" type="presParOf" srcId="{8465115B-D14A-459E-A2D7-FECE94332404}" destId="{E4540ED4-266A-4F12-A6E6-014BC83EACEC}" srcOrd="1" destOrd="0" presId="urn:microsoft.com/office/officeart/2005/8/layout/hProcess4"/>
    <dgm:cxn modelId="{375AEBF6-ADAA-46BF-AF73-3AA1B37143A0}" type="presParOf" srcId="{8465115B-D14A-459E-A2D7-FECE94332404}" destId="{4C86C687-4965-4DA2-80D1-EE1EC7C9996A}" srcOrd="2" destOrd="0" presId="urn:microsoft.com/office/officeart/2005/8/layout/hProcess4"/>
    <dgm:cxn modelId="{9D88D87C-F2D1-477D-B230-E357E10DEE19}" type="presParOf" srcId="{8465115B-D14A-459E-A2D7-FECE94332404}" destId="{CF5C580D-10AF-44A7-8FE5-3CB764BF1B81}" srcOrd="3" destOrd="0" presId="urn:microsoft.com/office/officeart/2005/8/layout/hProcess4"/>
    <dgm:cxn modelId="{D791F258-72FE-400E-ACF6-EC782FD1044A}" type="presParOf" srcId="{8465115B-D14A-459E-A2D7-FECE94332404}" destId="{BF8E9B54-530D-4B45-9AC2-00920F5E7602}" srcOrd="4" destOrd="0" presId="urn:microsoft.com/office/officeart/2005/8/layout/hProcess4"/>
    <dgm:cxn modelId="{BC3CE478-85B6-4059-B0DA-76D8E472257B}" type="presParOf" srcId="{322A5182-A506-465F-920D-CD7CF4C2294F}" destId="{1D37E62D-9731-4C64-8EAB-56792DAF9616}" srcOrd="3" destOrd="0" presId="urn:microsoft.com/office/officeart/2005/8/layout/hProcess4"/>
    <dgm:cxn modelId="{0E92E0D5-2CC1-4160-B352-76B86A050129}" type="presParOf" srcId="{322A5182-A506-465F-920D-CD7CF4C2294F}" destId="{EDB8BD8D-C06E-48A9-8FB9-4DFB77FD3F78}" srcOrd="4" destOrd="0" presId="urn:microsoft.com/office/officeart/2005/8/layout/hProcess4"/>
    <dgm:cxn modelId="{B6C7F110-5222-4940-A5BF-6D7996C7285D}" type="presParOf" srcId="{EDB8BD8D-C06E-48A9-8FB9-4DFB77FD3F78}" destId="{AF49B990-5CFC-4B6A-8C56-2B3D1124C87B}" srcOrd="0" destOrd="0" presId="urn:microsoft.com/office/officeart/2005/8/layout/hProcess4"/>
    <dgm:cxn modelId="{B5FAFB18-8916-4BA8-9C47-4D06A9407CA4}" type="presParOf" srcId="{EDB8BD8D-C06E-48A9-8FB9-4DFB77FD3F78}" destId="{4EC3BF90-59CB-4CD5-8E65-F8EECE8EB3B7}" srcOrd="1" destOrd="0" presId="urn:microsoft.com/office/officeart/2005/8/layout/hProcess4"/>
    <dgm:cxn modelId="{BAFD6D5B-D4E3-4B68-8258-A3C988FE6A3C}" type="presParOf" srcId="{EDB8BD8D-C06E-48A9-8FB9-4DFB77FD3F78}" destId="{181AE6C3-DD1F-404A-B8D7-ACED8D5145E3}" srcOrd="2" destOrd="0" presId="urn:microsoft.com/office/officeart/2005/8/layout/hProcess4"/>
    <dgm:cxn modelId="{C61ECFCE-86D2-4DEB-8EB9-7009D1C15568}" type="presParOf" srcId="{EDB8BD8D-C06E-48A9-8FB9-4DFB77FD3F78}" destId="{2A29C3C5-932D-4B6F-8969-B5E5B16FD239}" srcOrd="3" destOrd="0" presId="urn:microsoft.com/office/officeart/2005/8/layout/hProcess4"/>
    <dgm:cxn modelId="{EBB8B1EE-1F5B-428A-BA13-96062A6F7E81}" type="presParOf" srcId="{EDB8BD8D-C06E-48A9-8FB9-4DFB77FD3F78}" destId="{6CA20D3B-B274-4984-82DA-98EBC47D86D8}"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9F87683-608B-4A09-A6E9-5E2F6C23CB83}" type="doc">
      <dgm:prSet loTypeId="urn:microsoft.com/office/officeart/2005/8/layout/hProcess9" loCatId="process" qsTypeId="urn:microsoft.com/office/officeart/2005/8/quickstyle/simple1" qsCatId="simple" csTypeId="urn:microsoft.com/office/officeart/2005/8/colors/accent1_2" csCatId="accent1" phldr="1"/>
      <dgm:spPr/>
    </dgm:pt>
    <dgm:pt modelId="{7E48C0F5-65E5-4310-AA63-B5809F0C00D4}">
      <dgm:prSet phldrT="[Text]" phldr="0"/>
      <dgm:spPr/>
      <dgm:t>
        <a:bodyPr/>
        <a:lstStyle/>
        <a:p>
          <a:pPr rtl="0"/>
          <a:r>
            <a:rPr lang="en-US" b="1" dirty="0">
              <a:solidFill>
                <a:schemeClr val="accent6"/>
              </a:solidFill>
              <a:latin typeface="Calibri" panose="020F0502020204030204"/>
            </a:rPr>
            <a:t>2022 Regional </a:t>
          </a:r>
          <a:r>
            <a:rPr lang="en-US" dirty="0">
              <a:latin typeface="Calibri" panose="020F0502020204030204"/>
            </a:rPr>
            <a:t>Community Engagement Meetings</a:t>
          </a:r>
          <a:endParaRPr lang="en-US" dirty="0"/>
        </a:p>
      </dgm:t>
    </dgm:pt>
    <dgm:pt modelId="{CDD22F1F-E19B-43F1-BE79-649899B70D5B}" type="parTrans" cxnId="{AD882FF6-1304-435B-B4E8-BD3420914E0D}">
      <dgm:prSet/>
      <dgm:spPr/>
    </dgm:pt>
    <dgm:pt modelId="{DDCC6F97-D2ED-4DA7-BA5E-8679EB86DC20}" type="sibTrans" cxnId="{AD882FF6-1304-435B-B4E8-BD3420914E0D}">
      <dgm:prSet/>
      <dgm:spPr/>
    </dgm:pt>
    <dgm:pt modelId="{0203D1A8-A614-4A58-BEC9-6076B9C034B3}">
      <dgm:prSet phldrT="[Text]" phldr="0"/>
      <dgm:spPr/>
      <dgm:t>
        <a:bodyPr/>
        <a:lstStyle/>
        <a:p>
          <a:pPr rtl="0"/>
          <a:r>
            <a:rPr lang="en-US" b="1" dirty="0">
              <a:solidFill>
                <a:schemeClr val="accent4"/>
              </a:solidFill>
              <a:latin typeface="Calibri" panose="020F0502020204030204"/>
            </a:rPr>
            <a:t>2023 Local</a:t>
          </a:r>
          <a:r>
            <a:rPr lang="en-US" dirty="0">
              <a:solidFill>
                <a:schemeClr val="accent4"/>
              </a:solidFill>
              <a:latin typeface="Calibri" panose="020F0502020204030204"/>
            </a:rPr>
            <a:t> </a:t>
          </a:r>
          <a:r>
            <a:rPr lang="en-US" dirty="0">
              <a:latin typeface="Calibri" panose="020F0502020204030204"/>
            </a:rPr>
            <a:t>Hospital Patient/Community Engagement</a:t>
          </a:r>
        </a:p>
      </dgm:t>
    </dgm:pt>
    <dgm:pt modelId="{7DE53E0B-3371-4241-B44A-40022AAEC02D}" type="parTrans" cxnId="{B3518D82-68BC-4E7A-A754-BFA293F0EA33}">
      <dgm:prSet/>
      <dgm:spPr/>
    </dgm:pt>
    <dgm:pt modelId="{7E0458D1-934F-485B-B955-01211A8D3563}" type="sibTrans" cxnId="{B3518D82-68BC-4E7A-A754-BFA293F0EA33}">
      <dgm:prSet/>
      <dgm:spPr/>
    </dgm:pt>
    <dgm:pt modelId="{76AD49B0-817F-4572-8222-06BA731055F7}">
      <dgm:prSet phldrT="[Text]" phldr="0"/>
      <dgm:spPr/>
      <dgm:t>
        <a:bodyPr/>
        <a:lstStyle/>
        <a:p>
          <a:pPr rtl="0"/>
          <a:r>
            <a:rPr lang="en-US" b="1" dirty="0">
              <a:solidFill>
                <a:schemeClr val="accent2"/>
              </a:solidFill>
              <a:latin typeface="Calibri" panose="020F0502020204030204"/>
            </a:rPr>
            <a:t>Achievable &amp; Sustainable Patient/Community Engagement Strategies!</a:t>
          </a:r>
          <a:endParaRPr lang="en-US" b="1" dirty="0">
            <a:solidFill>
              <a:schemeClr val="accent2"/>
            </a:solidFill>
          </a:endParaRPr>
        </a:p>
      </dgm:t>
    </dgm:pt>
    <dgm:pt modelId="{55106FF3-358A-4100-A9B3-11437785DF11}" type="parTrans" cxnId="{1129A034-2FE1-44B6-AB60-01156C6F7ADE}">
      <dgm:prSet/>
      <dgm:spPr/>
    </dgm:pt>
    <dgm:pt modelId="{DBB5EA01-5E35-47AA-8048-76E223592303}" type="sibTrans" cxnId="{1129A034-2FE1-44B6-AB60-01156C6F7ADE}">
      <dgm:prSet/>
      <dgm:spPr/>
    </dgm:pt>
    <dgm:pt modelId="{2E584DB7-CE48-413A-9158-84B60799A8DC}">
      <dgm:prSet phldr="0"/>
      <dgm:spPr/>
      <dgm:t>
        <a:bodyPr/>
        <a:lstStyle/>
        <a:p>
          <a:pPr rtl="0"/>
          <a:r>
            <a:rPr lang="en-US" dirty="0">
              <a:latin typeface="Calibri" panose="020F0502020204030204"/>
            </a:rPr>
            <a:t>Respectful Care Breakfast</a:t>
          </a:r>
        </a:p>
      </dgm:t>
    </dgm:pt>
    <dgm:pt modelId="{F8C4080D-695F-451C-9A75-CBD6ECD50A7B}" type="parTrans" cxnId="{1B24EC0B-4B13-40B4-A54F-2F6AFAF90B4C}">
      <dgm:prSet/>
      <dgm:spPr/>
    </dgm:pt>
    <dgm:pt modelId="{FCC3A859-0382-4D53-81B1-69D401A74202}" type="sibTrans" cxnId="{1B24EC0B-4B13-40B4-A54F-2F6AFAF90B4C}">
      <dgm:prSet/>
      <dgm:spPr/>
    </dgm:pt>
    <dgm:pt modelId="{6CB60C17-E638-41AC-95EE-2E016CADBE55}">
      <dgm:prSet phldr="0"/>
      <dgm:spPr/>
      <dgm:t>
        <a:bodyPr/>
        <a:lstStyle/>
        <a:p>
          <a:pPr rtl="0"/>
          <a:r>
            <a:rPr lang="en-US" dirty="0">
              <a:latin typeface="Calibri" panose="020F0502020204030204"/>
            </a:rPr>
            <a:t>Patient Partner on QI Team</a:t>
          </a:r>
          <a:endParaRPr lang="en-US" dirty="0"/>
        </a:p>
      </dgm:t>
    </dgm:pt>
    <dgm:pt modelId="{F0486439-DCBF-4F7F-A600-77564E5ECC09}" type="parTrans" cxnId="{B97BCC64-5D16-439C-8297-13E1413FC938}">
      <dgm:prSet/>
      <dgm:spPr/>
    </dgm:pt>
    <dgm:pt modelId="{AC7DA972-F6FE-44BA-81F8-C2DCC8198A1D}" type="sibTrans" cxnId="{B97BCC64-5D16-439C-8297-13E1413FC938}">
      <dgm:prSet/>
      <dgm:spPr/>
    </dgm:pt>
    <dgm:pt modelId="{D000C185-8A0E-4761-B91D-1346E38CB82A}" type="pres">
      <dgm:prSet presAssocID="{39F87683-608B-4A09-A6E9-5E2F6C23CB83}" presName="CompostProcess" presStyleCnt="0">
        <dgm:presLayoutVars>
          <dgm:dir/>
          <dgm:resizeHandles val="exact"/>
        </dgm:presLayoutVars>
      </dgm:prSet>
      <dgm:spPr/>
    </dgm:pt>
    <dgm:pt modelId="{9654B128-780C-479E-A16E-C791F2C58080}" type="pres">
      <dgm:prSet presAssocID="{39F87683-608B-4A09-A6E9-5E2F6C23CB83}" presName="arrow" presStyleLbl="bgShp" presStyleIdx="0" presStyleCnt="1"/>
      <dgm:spPr/>
    </dgm:pt>
    <dgm:pt modelId="{A87AF6C8-70DE-4036-B8D0-BA215D1D5407}" type="pres">
      <dgm:prSet presAssocID="{39F87683-608B-4A09-A6E9-5E2F6C23CB83}" presName="linearProcess" presStyleCnt="0"/>
      <dgm:spPr/>
    </dgm:pt>
    <dgm:pt modelId="{311C5E91-5FAC-4AF6-B89C-F3A66402389E}" type="pres">
      <dgm:prSet presAssocID="{7E48C0F5-65E5-4310-AA63-B5809F0C00D4}" presName="textNode" presStyleLbl="node1" presStyleIdx="0" presStyleCnt="3">
        <dgm:presLayoutVars>
          <dgm:bulletEnabled val="1"/>
        </dgm:presLayoutVars>
      </dgm:prSet>
      <dgm:spPr/>
    </dgm:pt>
    <dgm:pt modelId="{4D9670DC-FA2E-438E-8E8F-A9A88965D9A5}" type="pres">
      <dgm:prSet presAssocID="{DDCC6F97-D2ED-4DA7-BA5E-8679EB86DC20}" presName="sibTrans" presStyleCnt="0"/>
      <dgm:spPr/>
    </dgm:pt>
    <dgm:pt modelId="{96547441-D357-4F74-B85C-02808D7168F8}" type="pres">
      <dgm:prSet presAssocID="{0203D1A8-A614-4A58-BEC9-6076B9C034B3}" presName="textNode" presStyleLbl="node1" presStyleIdx="1" presStyleCnt="3">
        <dgm:presLayoutVars>
          <dgm:bulletEnabled val="1"/>
        </dgm:presLayoutVars>
      </dgm:prSet>
      <dgm:spPr/>
    </dgm:pt>
    <dgm:pt modelId="{9E9B74D2-6380-4907-841D-4E7A17B29231}" type="pres">
      <dgm:prSet presAssocID="{7E0458D1-934F-485B-B955-01211A8D3563}" presName="sibTrans" presStyleCnt="0"/>
      <dgm:spPr/>
    </dgm:pt>
    <dgm:pt modelId="{28148E26-E074-43C9-87C3-BEC373394AB6}" type="pres">
      <dgm:prSet presAssocID="{76AD49B0-817F-4572-8222-06BA731055F7}" presName="textNode" presStyleLbl="node1" presStyleIdx="2" presStyleCnt="3">
        <dgm:presLayoutVars>
          <dgm:bulletEnabled val="1"/>
        </dgm:presLayoutVars>
      </dgm:prSet>
      <dgm:spPr/>
    </dgm:pt>
  </dgm:ptLst>
  <dgm:cxnLst>
    <dgm:cxn modelId="{1B24EC0B-4B13-40B4-A54F-2F6AFAF90B4C}" srcId="{0203D1A8-A614-4A58-BEC9-6076B9C034B3}" destId="{2E584DB7-CE48-413A-9158-84B60799A8DC}" srcOrd="0" destOrd="0" parTransId="{F8C4080D-695F-451C-9A75-CBD6ECD50A7B}" sibTransId="{FCC3A859-0382-4D53-81B1-69D401A74202}"/>
    <dgm:cxn modelId="{1129A034-2FE1-44B6-AB60-01156C6F7ADE}" srcId="{39F87683-608B-4A09-A6E9-5E2F6C23CB83}" destId="{76AD49B0-817F-4572-8222-06BA731055F7}" srcOrd="2" destOrd="0" parTransId="{55106FF3-358A-4100-A9B3-11437785DF11}" sibTransId="{DBB5EA01-5E35-47AA-8048-76E223592303}"/>
    <dgm:cxn modelId="{B97BCC64-5D16-439C-8297-13E1413FC938}" srcId="{0203D1A8-A614-4A58-BEC9-6076B9C034B3}" destId="{6CB60C17-E638-41AC-95EE-2E016CADBE55}" srcOrd="1" destOrd="0" parTransId="{F0486439-DCBF-4F7F-A600-77564E5ECC09}" sibTransId="{AC7DA972-F6FE-44BA-81F8-C2DCC8198A1D}"/>
    <dgm:cxn modelId="{EB94E044-76B2-4202-98CC-7AA88FACD0CC}" type="presOf" srcId="{7E48C0F5-65E5-4310-AA63-B5809F0C00D4}" destId="{311C5E91-5FAC-4AF6-B89C-F3A66402389E}" srcOrd="0" destOrd="0" presId="urn:microsoft.com/office/officeart/2005/8/layout/hProcess9"/>
    <dgm:cxn modelId="{8A58A173-5BAB-41B8-B26C-51958BF89850}" type="presOf" srcId="{39F87683-608B-4A09-A6E9-5E2F6C23CB83}" destId="{D000C185-8A0E-4761-B91D-1346E38CB82A}" srcOrd="0" destOrd="0" presId="urn:microsoft.com/office/officeart/2005/8/layout/hProcess9"/>
    <dgm:cxn modelId="{A0090F54-356B-4123-AD82-CA13D9F561C8}" type="presOf" srcId="{0203D1A8-A614-4A58-BEC9-6076B9C034B3}" destId="{96547441-D357-4F74-B85C-02808D7168F8}" srcOrd="0" destOrd="0" presId="urn:microsoft.com/office/officeart/2005/8/layout/hProcess9"/>
    <dgm:cxn modelId="{B3518D82-68BC-4E7A-A754-BFA293F0EA33}" srcId="{39F87683-608B-4A09-A6E9-5E2F6C23CB83}" destId="{0203D1A8-A614-4A58-BEC9-6076B9C034B3}" srcOrd="1" destOrd="0" parTransId="{7DE53E0B-3371-4241-B44A-40022AAEC02D}" sibTransId="{7E0458D1-934F-485B-B955-01211A8D3563}"/>
    <dgm:cxn modelId="{1AEB5F9D-149B-43BD-A718-7AAC68645268}" type="presOf" srcId="{6CB60C17-E638-41AC-95EE-2E016CADBE55}" destId="{96547441-D357-4F74-B85C-02808D7168F8}" srcOrd="0" destOrd="2" presId="urn:microsoft.com/office/officeart/2005/8/layout/hProcess9"/>
    <dgm:cxn modelId="{AE038EA7-E359-4112-B225-F738E2D89559}" type="presOf" srcId="{2E584DB7-CE48-413A-9158-84B60799A8DC}" destId="{96547441-D357-4F74-B85C-02808D7168F8}" srcOrd="0" destOrd="1" presId="urn:microsoft.com/office/officeart/2005/8/layout/hProcess9"/>
    <dgm:cxn modelId="{AD882FF6-1304-435B-B4E8-BD3420914E0D}" srcId="{39F87683-608B-4A09-A6E9-5E2F6C23CB83}" destId="{7E48C0F5-65E5-4310-AA63-B5809F0C00D4}" srcOrd="0" destOrd="0" parTransId="{CDD22F1F-E19B-43F1-BE79-649899B70D5B}" sibTransId="{DDCC6F97-D2ED-4DA7-BA5E-8679EB86DC20}"/>
    <dgm:cxn modelId="{BAEC9BFA-F4DD-42A4-9661-0DA042AFAFB5}" type="presOf" srcId="{76AD49B0-817F-4572-8222-06BA731055F7}" destId="{28148E26-E074-43C9-87C3-BEC373394AB6}" srcOrd="0" destOrd="0" presId="urn:microsoft.com/office/officeart/2005/8/layout/hProcess9"/>
    <dgm:cxn modelId="{1E68CA50-4CBE-472E-8245-80FBA95804BA}" type="presParOf" srcId="{D000C185-8A0E-4761-B91D-1346E38CB82A}" destId="{9654B128-780C-479E-A16E-C791F2C58080}" srcOrd="0" destOrd="0" presId="urn:microsoft.com/office/officeart/2005/8/layout/hProcess9"/>
    <dgm:cxn modelId="{7288A2AF-BC83-4F65-97CF-2FA4181443A5}" type="presParOf" srcId="{D000C185-8A0E-4761-B91D-1346E38CB82A}" destId="{A87AF6C8-70DE-4036-B8D0-BA215D1D5407}" srcOrd="1" destOrd="0" presId="urn:microsoft.com/office/officeart/2005/8/layout/hProcess9"/>
    <dgm:cxn modelId="{4119440B-9245-4922-BFB0-C799EA3144B6}" type="presParOf" srcId="{A87AF6C8-70DE-4036-B8D0-BA215D1D5407}" destId="{311C5E91-5FAC-4AF6-B89C-F3A66402389E}" srcOrd="0" destOrd="0" presId="urn:microsoft.com/office/officeart/2005/8/layout/hProcess9"/>
    <dgm:cxn modelId="{460550CF-89A4-4D36-881D-F1E8C6F9C6D5}" type="presParOf" srcId="{A87AF6C8-70DE-4036-B8D0-BA215D1D5407}" destId="{4D9670DC-FA2E-438E-8E8F-A9A88965D9A5}" srcOrd="1" destOrd="0" presId="urn:microsoft.com/office/officeart/2005/8/layout/hProcess9"/>
    <dgm:cxn modelId="{26E0C2C4-954E-4B8C-9DBE-55C35557A9A7}" type="presParOf" srcId="{A87AF6C8-70DE-4036-B8D0-BA215D1D5407}" destId="{96547441-D357-4F74-B85C-02808D7168F8}" srcOrd="2" destOrd="0" presId="urn:microsoft.com/office/officeart/2005/8/layout/hProcess9"/>
    <dgm:cxn modelId="{15023F22-8D4E-47CB-9CED-9A9D0655D074}" type="presParOf" srcId="{A87AF6C8-70DE-4036-B8D0-BA215D1D5407}" destId="{9E9B74D2-6380-4907-841D-4E7A17B29231}" srcOrd="3" destOrd="0" presId="urn:microsoft.com/office/officeart/2005/8/layout/hProcess9"/>
    <dgm:cxn modelId="{D4F1A4E0-2FA0-4E0E-A315-CF7882C6FCF3}" type="presParOf" srcId="{A87AF6C8-70DE-4036-B8D0-BA215D1D5407}" destId="{28148E26-E074-43C9-87C3-BEC373394AB6}"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AA870F4-49AD-437A-8BDB-B899221F057C}" type="doc">
      <dgm:prSet loTypeId="urn:microsoft.com/office/officeart/2005/8/layout/venn3" loCatId="relationship" qsTypeId="urn:microsoft.com/office/officeart/2005/8/quickstyle/simple1" qsCatId="simple" csTypeId="urn:microsoft.com/office/officeart/2005/8/colors/colorful3" csCatId="colorful" phldr="1"/>
      <dgm:spPr/>
    </dgm:pt>
    <dgm:pt modelId="{8B188287-DA88-4A80-8A77-92204B2AE764}">
      <dgm:prSet phldrT="[Text]" phldr="0"/>
      <dgm:spPr/>
      <dgm:t>
        <a:bodyPr/>
        <a:lstStyle/>
        <a:p>
          <a:pPr rtl="0"/>
          <a:r>
            <a:rPr lang="en-US" b="1" u="sng" dirty="0">
              <a:latin typeface="Calibri" panose="020F0502020204030204"/>
            </a:rPr>
            <a:t>Invite Patients</a:t>
          </a:r>
        </a:p>
      </dgm:t>
    </dgm:pt>
    <dgm:pt modelId="{5620FD8F-6E5F-43A2-A655-D245011858D3}" type="parTrans" cxnId="{CC49344A-ACA1-4F0C-A761-63B2448BCBD0}">
      <dgm:prSet/>
      <dgm:spPr/>
      <dgm:t>
        <a:bodyPr/>
        <a:lstStyle/>
        <a:p>
          <a:endParaRPr lang="en-US"/>
        </a:p>
      </dgm:t>
    </dgm:pt>
    <dgm:pt modelId="{8F918AF7-74F0-41F2-97AC-8F559365DC91}" type="sibTrans" cxnId="{CC49344A-ACA1-4F0C-A761-63B2448BCBD0}">
      <dgm:prSet/>
      <dgm:spPr/>
      <dgm:t>
        <a:bodyPr/>
        <a:lstStyle/>
        <a:p>
          <a:endParaRPr lang="en-US"/>
        </a:p>
      </dgm:t>
    </dgm:pt>
    <dgm:pt modelId="{15E6902D-5322-412B-955C-6D94CE6B4DAF}">
      <dgm:prSet phldr="0"/>
      <dgm:spPr/>
      <dgm:t>
        <a:bodyPr/>
        <a:lstStyle/>
        <a:p>
          <a:pPr rtl="0"/>
          <a:r>
            <a:rPr lang="en-US" dirty="0">
              <a:latin typeface="Calibri" panose="020F0502020204030204"/>
            </a:rPr>
            <a:t>Ask OB offices / clinics to invite a few pp patients</a:t>
          </a:r>
        </a:p>
      </dgm:t>
    </dgm:pt>
    <dgm:pt modelId="{9F6EB303-ED57-4A56-BA7A-7F6CF8347D17}" type="parTrans" cxnId="{89D7613C-47CD-4532-8DBE-FEF808371C09}">
      <dgm:prSet/>
      <dgm:spPr/>
      <dgm:t>
        <a:bodyPr/>
        <a:lstStyle/>
        <a:p>
          <a:endParaRPr lang="en-US"/>
        </a:p>
      </dgm:t>
    </dgm:pt>
    <dgm:pt modelId="{F506786C-8AE8-441B-B23C-3F6F23D1CEC4}" type="sibTrans" cxnId="{89D7613C-47CD-4532-8DBE-FEF808371C09}">
      <dgm:prSet/>
      <dgm:spPr/>
      <dgm:t>
        <a:bodyPr/>
        <a:lstStyle/>
        <a:p>
          <a:endParaRPr lang="en-US"/>
        </a:p>
      </dgm:t>
    </dgm:pt>
    <dgm:pt modelId="{D4B431A8-AD1D-4424-8DA0-85434C524D46}">
      <dgm:prSet phldr="0"/>
      <dgm:spPr/>
      <dgm:t>
        <a:bodyPr/>
        <a:lstStyle/>
        <a:p>
          <a:pPr rtl="0"/>
          <a:r>
            <a:rPr lang="en-US" b="1" u="sng" dirty="0">
              <a:latin typeface="Calibri" panose="020F0502020204030204"/>
            </a:rPr>
            <a:t>Set the Date </a:t>
          </a:r>
        </a:p>
      </dgm:t>
    </dgm:pt>
    <dgm:pt modelId="{A971AA21-CC04-411B-A542-568EE522E900}" type="parTrans" cxnId="{47FA3956-DBBC-4D51-9D24-F8CBCADFE478}">
      <dgm:prSet/>
      <dgm:spPr/>
      <dgm:t>
        <a:bodyPr/>
        <a:lstStyle/>
        <a:p>
          <a:endParaRPr lang="en-US"/>
        </a:p>
      </dgm:t>
    </dgm:pt>
    <dgm:pt modelId="{363A1FAC-7E7A-4E16-97E7-61A69CEB082A}" type="sibTrans" cxnId="{47FA3956-DBBC-4D51-9D24-F8CBCADFE478}">
      <dgm:prSet/>
      <dgm:spPr/>
      <dgm:t>
        <a:bodyPr/>
        <a:lstStyle/>
        <a:p>
          <a:endParaRPr lang="en-US"/>
        </a:p>
      </dgm:t>
    </dgm:pt>
    <dgm:pt modelId="{62F37CE9-3203-432F-9872-397DE00E8481}">
      <dgm:prSet phldr="0"/>
      <dgm:spPr/>
      <dgm:t>
        <a:bodyPr/>
        <a:lstStyle/>
        <a:p>
          <a:pPr rtl="0"/>
          <a:r>
            <a:rPr lang="en-US" dirty="0">
              <a:latin typeface="Calibri" panose="020F0502020204030204"/>
            </a:rPr>
            <a:t>Black Maternal Health Week (April 11-17) and/or </a:t>
          </a:r>
        </a:p>
      </dgm:t>
    </dgm:pt>
    <dgm:pt modelId="{E10ADE3C-4844-4F97-8482-58F81F7CDD6D}" type="parTrans" cxnId="{86C93372-E837-447E-919F-B7A5300E1D6C}">
      <dgm:prSet/>
      <dgm:spPr/>
      <dgm:t>
        <a:bodyPr/>
        <a:lstStyle/>
        <a:p>
          <a:endParaRPr lang="en-US"/>
        </a:p>
      </dgm:t>
    </dgm:pt>
    <dgm:pt modelId="{C772203F-79BD-495F-9E53-DBC9BBB5D7AC}" type="sibTrans" cxnId="{86C93372-E837-447E-919F-B7A5300E1D6C}">
      <dgm:prSet/>
      <dgm:spPr/>
      <dgm:t>
        <a:bodyPr/>
        <a:lstStyle/>
        <a:p>
          <a:endParaRPr lang="en-US"/>
        </a:p>
      </dgm:t>
    </dgm:pt>
    <dgm:pt modelId="{3667741F-75F2-4979-AD84-6A3F49C9E728}">
      <dgm:prSet phldr="0"/>
      <dgm:spPr/>
      <dgm:t>
        <a:bodyPr/>
        <a:lstStyle/>
        <a:p>
          <a:pPr rtl="0"/>
          <a:r>
            <a:rPr lang="en-US" dirty="0">
              <a:latin typeface="Calibri" panose="020F0502020204030204"/>
            </a:rPr>
            <a:t>Mother’s Day Week (week of May 14)</a:t>
          </a:r>
          <a:endParaRPr lang="en-US" dirty="0"/>
        </a:p>
      </dgm:t>
    </dgm:pt>
    <dgm:pt modelId="{738C9FB3-B7A8-4FCE-A518-29A43A6AF93D}" type="parTrans" cxnId="{BDB32CB4-2376-4076-AAAC-495DF9718375}">
      <dgm:prSet/>
      <dgm:spPr/>
      <dgm:t>
        <a:bodyPr/>
        <a:lstStyle/>
        <a:p>
          <a:endParaRPr lang="en-US"/>
        </a:p>
      </dgm:t>
    </dgm:pt>
    <dgm:pt modelId="{DA9C1594-E8A5-40D0-9639-28CED57120E1}" type="sibTrans" cxnId="{BDB32CB4-2376-4076-AAAC-495DF9718375}">
      <dgm:prSet/>
      <dgm:spPr/>
      <dgm:t>
        <a:bodyPr/>
        <a:lstStyle/>
        <a:p>
          <a:endParaRPr lang="en-US"/>
        </a:p>
      </dgm:t>
    </dgm:pt>
    <dgm:pt modelId="{8A3941C0-5093-4428-90DA-D056095F5315}">
      <dgm:prSet phldr="0"/>
      <dgm:spPr/>
      <dgm:t>
        <a:bodyPr/>
        <a:lstStyle/>
        <a:p>
          <a:pPr rtl="0"/>
          <a:r>
            <a:rPr lang="en-US" dirty="0">
              <a:latin typeface="Calibri" panose="020F0502020204030204"/>
            </a:rPr>
            <a:t>Identify patients to invite through PP Leader Rounds</a:t>
          </a:r>
          <a:endParaRPr lang="en-US" dirty="0"/>
        </a:p>
      </dgm:t>
    </dgm:pt>
    <dgm:pt modelId="{AEDA8040-8CCD-4799-B23C-279FBC51C85B}" type="parTrans" cxnId="{8BEF12B4-91F3-43FD-9A82-5B6F5CC0A088}">
      <dgm:prSet/>
      <dgm:spPr/>
      <dgm:t>
        <a:bodyPr/>
        <a:lstStyle/>
        <a:p>
          <a:endParaRPr lang="en-US"/>
        </a:p>
      </dgm:t>
    </dgm:pt>
    <dgm:pt modelId="{A4B33320-5B0B-4D21-8B53-ACA2CC1534A1}" type="sibTrans" cxnId="{8BEF12B4-91F3-43FD-9A82-5B6F5CC0A088}">
      <dgm:prSet/>
      <dgm:spPr/>
      <dgm:t>
        <a:bodyPr/>
        <a:lstStyle/>
        <a:p>
          <a:endParaRPr lang="en-US"/>
        </a:p>
      </dgm:t>
    </dgm:pt>
    <dgm:pt modelId="{6E99E5BC-DDA3-4ED6-987C-70240B730935}">
      <dgm:prSet phldr="0"/>
      <dgm:spPr/>
      <dgm:t>
        <a:bodyPr/>
        <a:lstStyle/>
        <a:p>
          <a:pPr rtl="0"/>
          <a:r>
            <a:rPr lang="en-US" dirty="0">
              <a:latin typeface="Calibri" panose="020F0502020204030204"/>
            </a:rPr>
            <a:t>Invite Community Members (doulas, community health workers, etc.)</a:t>
          </a:r>
        </a:p>
      </dgm:t>
    </dgm:pt>
    <dgm:pt modelId="{A085B666-94B6-48B6-A6FC-4415F6C9676E}" type="parTrans" cxnId="{4E57982A-0F73-4FB8-BE21-D096DF2963A4}">
      <dgm:prSet/>
      <dgm:spPr/>
      <dgm:t>
        <a:bodyPr/>
        <a:lstStyle/>
        <a:p>
          <a:endParaRPr lang="en-US"/>
        </a:p>
      </dgm:t>
    </dgm:pt>
    <dgm:pt modelId="{D89C26AB-DC9C-4587-9EDF-27556A73BC2C}" type="sibTrans" cxnId="{4E57982A-0F73-4FB8-BE21-D096DF2963A4}">
      <dgm:prSet/>
      <dgm:spPr/>
      <dgm:t>
        <a:bodyPr/>
        <a:lstStyle/>
        <a:p>
          <a:endParaRPr lang="en-US"/>
        </a:p>
      </dgm:t>
    </dgm:pt>
    <dgm:pt modelId="{A7A89413-4177-4E9C-83AA-413811BED4EB}">
      <dgm:prSet phldr="0"/>
      <dgm:spPr/>
      <dgm:t>
        <a:bodyPr/>
        <a:lstStyle/>
        <a:p>
          <a:pPr rtl="0"/>
          <a:r>
            <a:rPr lang="en-US" b="1" dirty="0">
              <a:latin typeface="Calibri" panose="020F0502020204030204"/>
            </a:rPr>
            <a:t>Celebration of Respectful Care and Patient Voices Breakfast with clinical team members and patients! </a:t>
          </a:r>
          <a:endParaRPr lang="en-US" b="0" dirty="0">
            <a:latin typeface="Calibri" panose="020F0502020204030204"/>
          </a:endParaRPr>
        </a:p>
      </dgm:t>
    </dgm:pt>
    <dgm:pt modelId="{AB0551D0-65D7-4C59-8228-D0A0B13DC841}" type="parTrans" cxnId="{5642AC57-A7F8-4AF0-9455-1C42D04FC06A}">
      <dgm:prSet/>
      <dgm:spPr/>
      <dgm:t>
        <a:bodyPr/>
        <a:lstStyle/>
        <a:p>
          <a:endParaRPr lang="en-US"/>
        </a:p>
      </dgm:t>
    </dgm:pt>
    <dgm:pt modelId="{35B12FEB-1D71-401D-BD1B-441817A2FF1A}" type="sibTrans" cxnId="{5642AC57-A7F8-4AF0-9455-1C42D04FC06A}">
      <dgm:prSet/>
      <dgm:spPr/>
      <dgm:t>
        <a:bodyPr/>
        <a:lstStyle/>
        <a:p>
          <a:endParaRPr lang="en-US"/>
        </a:p>
      </dgm:t>
    </dgm:pt>
    <dgm:pt modelId="{6141034E-53AE-4163-B000-03EDB69AB106}">
      <dgm:prSet phldr="0"/>
      <dgm:spPr/>
      <dgm:t>
        <a:bodyPr/>
        <a:lstStyle/>
        <a:p>
          <a:pPr rtl="0"/>
          <a:r>
            <a:rPr lang="en-US" dirty="0">
              <a:latin typeface="Calibri" panose="020F0502020204030204"/>
            </a:rPr>
            <a:t>Invite NICU moms</a:t>
          </a:r>
          <a:endParaRPr lang="en-US" dirty="0"/>
        </a:p>
      </dgm:t>
    </dgm:pt>
    <dgm:pt modelId="{0096F972-409B-4474-B380-A0837D8F4322}" type="parTrans" cxnId="{1DDE2D12-BC42-4C6F-A3BF-DDDCC266DB2A}">
      <dgm:prSet/>
      <dgm:spPr/>
      <dgm:t>
        <a:bodyPr/>
        <a:lstStyle/>
        <a:p>
          <a:endParaRPr lang="en-US"/>
        </a:p>
      </dgm:t>
    </dgm:pt>
    <dgm:pt modelId="{BA489A85-D1A3-4088-BC9F-A468A4F6DEEB}" type="sibTrans" cxnId="{1DDE2D12-BC42-4C6F-A3BF-DDDCC266DB2A}">
      <dgm:prSet/>
      <dgm:spPr/>
      <dgm:t>
        <a:bodyPr/>
        <a:lstStyle/>
        <a:p>
          <a:endParaRPr lang="en-US"/>
        </a:p>
      </dgm:t>
    </dgm:pt>
    <dgm:pt modelId="{58B185DB-705B-4D57-8F62-9FBF098A68B9}">
      <dgm:prSet phldr="0"/>
      <dgm:spPr/>
      <dgm:t>
        <a:bodyPr/>
        <a:lstStyle/>
        <a:p>
          <a:pPr rtl="0"/>
          <a:r>
            <a:rPr lang="en-US" dirty="0"/>
            <a:t>Consider using a Grand Rounds slot</a:t>
          </a:r>
        </a:p>
      </dgm:t>
    </dgm:pt>
    <dgm:pt modelId="{257A2EBB-2FBF-4447-9E19-99811A02C0F6}" type="parTrans" cxnId="{67AD7D0E-259D-4052-BD58-E20188BE33EB}">
      <dgm:prSet/>
      <dgm:spPr/>
      <dgm:t>
        <a:bodyPr/>
        <a:lstStyle/>
        <a:p>
          <a:endParaRPr lang="en-US"/>
        </a:p>
      </dgm:t>
    </dgm:pt>
    <dgm:pt modelId="{D75BBC14-C702-40A0-9BB1-AC970D6B3769}" type="sibTrans" cxnId="{67AD7D0E-259D-4052-BD58-E20188BE33EB}">
      <dgm:prSet/>
      <dgm:spPr/>
      <dgm:t>
        <a:bodyPr/>
        <a:lstStyle/>
        <a:p>
          <a:endParaRPr lang="en-US"/>
        </a:p>
      </dgm:t>
    </dgm:pt>
    <dgm:pt modelId="{EF7E79AE-BF95-45F9-A7B3-506ACD13FF62}">
      <dgm:prSet phldr="0"/>
      <dgm:spPr/>
      <dgm:t>
        <a:bodyPr/>
        <a:lstStyle/>
        <a:p>
          <a:pPr rtl="0"/>
          <a:r>
            <a:rPr lang="en-US" b="1" u="sng" dirty="0">
              <a:latin typeface="Calibri" panose="020F0502020204030204"/>
            </a:rPr>
            <a:t>Invite Providers, Nurses, Staff  to breakfast</a:t>
          </a:r>
          <a:r>
            <a:rPr lang="en-US" dirty="0">
              <a:latin typeface="Calibri" panose="020F0502020204030204"/>
            </a:rPr>
            <a:t>, get nametags, use 20 minutes for breakfast mingling, then intro BE Initiative and Respectful Care, then hold Panel Discussion to discuss how to optimize Respectful Care                                    </a:t>
          </a:r>
        </a:p>
      </dgm:t>
    </dgm:pt>
    <dgm:pt modelId="{5A8E5484-A211-4978-812A-1B0315B7764B}" type="parTrans" cxnId="{AAFF764A-111D-41DA-8C40-38CA643C6623}">
      <dgm:prSet/>
      <dgm:spPr/>
      <dgm:t>
        <a:bodyPr/>
        <a:lstStyle/>
        <a:p>
          <a:endParaRPr lang="en-US"/>
        </a:p>
      </dgm:t>
    </dgm:pt>
    <dgm:pt modelId="{82752A3A-804D-4D43-B326-AEE52115133B}" type="sibTrans" cxnId="{AAFF764A-111D-41DA-8C40-38CA643C6623}">
      <dgm:prSet/>
      <dgm:spPr/>
      <dgm:t>
        <a:bodyPr/>
        <a:lstStyle/>
        <a:p>
          <a:endParaRPr lang="en-US"/>
        </a:p>
      </dgm:t>
    </dgm:pt>
    <dgm:pt modelId="{EB404C3A-0DD5-4F40-B1D9-1E3B3CA7D856}" type="pres">
      <dgm:prSet presAssocID="{9AA870F4-49AD-437A-8BDB-B899221F057C}" presName="Name0" presStyleCnt="0">
        <dgm:presLayoutVars>
          <dgm:dir/>
          <dgm:resizeHandles val="exact"/>
        </dgm:presLayoutVars>
      </dgm:prSet>
      <dgm:spPr/>
    </dgm:pt>
    <dgm:pt modelId="{1190B134-FC49-4FA7-A077-E37CE66721D9}" type="pres">
      <dgm:prSet presAssocID="{D4B431A8-AD1D-4424-8DA0-85434C524D46}" presName="Name5" presStyleLbl="vennNode1" presStyleIdx="0" presStyleCnt="4">
        <dgm:presLayoutVars>
          <dgm:bulletEnabled val="1"/>
        </dgm:presLayoutVars>
      </dgm:prSet>
      <dgm:spPr/>
    </dgm:pt>
    <dgm:pt modelId="{6DAC2A89-E9C1-46B1-BFF1-7E88F94B9495}" type="pres">
      <dgm:prSet presAssocID="{363A1FAC-7E7A-4E16-97E7-61A69CEB082A}" presName="space" presStyleCnt="0"/>
      <dgm:spPr/>
    </dgm:pt>
    <dgm:pt modelId="{A35AFF8D-434F-45AE-B678-42454849FFC5}" type="pres">
      <dgm:prSet presAssocID="{8B188287-DA88-4A80-8A77-92204B2AE764}" presName="Name5" presStyleLbl="vennNode1" presStyleIdx="1" presStyleCnt="4" custScaleX="97421">
        <dgm:presLayoutVars>
          <dgm:bulletEnabled val="1"/>
        </dgm:presLayoutVars>
      </dgm:prSet>
      <dgm:spPr/>
    </dgm:pt>
    <dgm:pt modelId="{6F3BCE43-2C94-43EC-B318-5DD2CAED51F9}" type="pres">
      <dgm:prSet presAssocID="{8F918AF7-74F0-41F2-97AC-8F559365DC91}" presName="space" presStyleCnt="0"/>
      <dgm:spPr/>
    </dgm:pt>
    <dgm:pt modelId="{F5CB5FD5-9D21-4536-A7D5-34E2829EFAA5}" type="pres">
      <dgm:prSet presAssocID="{EF7E79AE-BF95-45F9-A7B3-506ACD13FF62}" presName="Name5" presStyleLbl="vennNode1" presStyleIdx="2" presStyleCnt="4">
        <dgm:presLayoutVars>
          <dgm:bulletEnabled val="1"/>
        </dgm:presLayoutVars>
      </dgm:prSet>
      <dgm:spPr/>
    </dgm:pt>
    <dgm:pt modelId="{4DC04FFD-DF4C-4946-B96B-F3FD36707CAF}" type="pres">
      <dgm:prSet presAssocID="{82752A3A-804D-4D43-B326-AEE52115133B}" presName="space" presStyleCnt="0"/>
      <dgm:spPr/>
    </dgm:pt>
    <dgm:pt modelId="{23C263ED-262F-4056-B1CE-A1FFB48795DC}" type="pres">
      <dgm:prSet presAssocID="{A7A89413-4177-4E9C-83AA-413811BED4EB}" presName="Name5" presStyleLbl="vennNode1" presStyleIdx="3" presStyleCnt="4">
        <dgm:presLayoutVars>
          <dgm:bulletEnabled val="1"/>
        </dgm:presLayoutVars>
      </dgm:prSet>
      <dgm:spPr/>
    </dgm:pt>
  </dgm:ptLst>
  <dgm:cxnLst>
    <dgm:cxn modelId="{67AD7D0E-259D-4052-BD58-E20188BE33EB}" srcId="{D4B431A8-AD1D-4424-8DA0-85434C524D46}" destId="{58B185DB-705B-4D57-8F62-9FBF098A68B9}" srcOrd="2" destOrd="0" parTransId="{257A2EBB-2FBF-4447-9E19-99811A02C0F6}" sibTransId="{D75BBC14-C702-40A0-9BB1-AC970D6B3769}"/>
    <dgm:cxn modelId="{1DDE2D12-BC42-4C6F-A3BF-DDDCC266DB2A}" srcId="{8B188287-DA88-4A80-8A77-92204B2AE764}" destId="{6141034E-53AE-4163-B000-03EDB69AB106}" srcOrd="2" destOrd="0" parTransId="{0096F972-409B-4474-B380-A0837D8F4322}" sibTransId="{BA489A85-D1A3-4088-BC9F-A468A4F6DEEB}"/>
    <dgm:cxn modelId="{EF8C3016-B0D1-44F3-9BFE-B79788168962}" type="presOf" srcId="{8B188287-DA88-4A80-8A77-92204B2AE764}" destId="{A35AFF8D-434F-45AE-B678-42454849FFC5}" srcOrd="0" destOrd="0" presId="urn:microsoft.com/office/officeart/2005/8/layout/venn3"/>
    <dgm:cxn modelId="{4E57982A-0F73-4FB8-BE21-D096DF2963A4}" srcId="{8B188287-DA88-4A80-8A77-92204B2AE764}" destId="{6E99E5BC-DDA3-4ED6-987C-70240B730935}" srcOrd="3" destOrd="0" parTransId="{A085B666-94B6-48B6-A6FC-4415F6C9676E}" sibTransId="{D89C26AB-DC9C-4587-9EDF-27556A73BC2C}"/>
    <dgm:cxn modelId="{A3DE9A2F-D689-4799-92BD-42C2C478D484}" type="presOf" srcId="{3667741F-75F2-4979-AD84-6A3F49C9E728}" destId="{1190B134-FC49-4FA7-A077-E37CE66721D9}" srcOrd="0" destOrd="2" presId="urn:microsoft.com/office/officeart/2005/8/layout/venn3"/>
    <dgm:cxn modelId="{5E0ACB36-34B2-4149-8C20-5EF320A894B0}" type="presOf" srcId="{8A3941C0-5093-4428-90DA-D056095F5315}" destId="{A35AFF8D-434F-45AE-B678-42454849FFC5}" srcOrd="0" destOrd="1" presId="urn:microsoft.com/office/officeart/2005/8/layout/venn3"/>
    <dgm:cxn modelId="{89D7613C-47CD-4532-8DBE-FEF808371C09}" srcId="{8B188287-DA88-4A80-8A77-92204B2AE764}" destId="{15E6902D-5322-412B-955C-6D94CE6B4DAF}" srcOrd="1" destOrd="0" parTransId="{9F6EB303-ED57-4A56-BA7A-7F6CF8347D17}" sibTransId="{F506786C-8AE8-441B-B23C-3F6F23D1CEC4}"/>
    <dgm:cxn modelId="{ACAE9F3C-31CE-4D85-8AAE-F29D829DE485}" type="presOf" srcId="{62F37CE9-3203-432F-9872-397DE00E8481}" destId="{1190B134-FC49-4FA7-A077-E37CE66721D9}" srcOrd="0" destOrd="1" presId="urn:microsoft.com/office/officeart/2005/8/layout/venn3"/>
    <dgm:cxn modelId="{E57BBD62-2BEA-40B1-8905-C988145EED4F}" type="presOf" srcId="{9AA870F4-49AD-437A-8BDB-B899221F057C}" destId="{EB404C3A-0DD5-4F40-B1D9-1E3B3CA7D856}" srcOrd="0" destOrd="0" presId="urn:microsoft.com/office/officeart/2005/8/layout/venn3"/>
    <dgm:cxn modelId="{CC49344A-ACA1-4F0C-A761-63B2448BCBD0}" srcId="{9AA870F4-49AD-437A-8BDB-B899221F057C}" destId="{8B188287-DA88-4A80-8A77-92204B2AE764}" srcOrd="1" destOrd="0" parTransId="{5620FD8F-6E5F-43A2-A655-D245011858D3}" sibTransId="{8F918AF7-74F0-41F2-97AC-8F559365DC91}"/>
    <dgm:cxn modelId="{AAFF764A-111D-41DA-8C40-38CA643C6623}" srcId="{9AA870F4-49AD-437A-8BDB-B899221F057C}" destId="{EF7E79AE-BF95-45F9-A7B3-506ACD13FF62}" srcOrd="2" destOrd="0" parTransId="{5A8E5484-A211-4978-812A-1B0315B7764B}" sibTransId="{82752A3A-804D-4D43-B326-AEE52115133B}"/>
    <dgm:cxn modelId="{E4FC5850-8BC2-42BF-9E36-0942C3DCB054}" type="presOf" srcId="{15E6902D-5322-412B-955C-6D94CE6B4DAF}" destId="{A35AFF8D-434F-45AE-B678-42454849FFC5}" srcOrd="0" destOrd="2" presId="urn:microsoft.com/office/officeart/2005/8/layout/venn3"/>
    <dgm:cxn modelId="{86C93372-E837-447E-919F-B7A5300E1D6C}" srcId="{D4B431A8-AD1D-4424-8DA0-85434C524D46}" destId="{62F37CE9-3203-432F-9872-397DE00E8481}" srcOrd="0" destOrd="0" parTransId="{E10ADE3C-4844-4F97-8482-58F81F7CDD6D}" sibTransId="{C772203F-79BD-495F-9E53-DBC9BBB5D7AC}"/>
    <dgm:cxn modelId="{47FA3956-DBBC-4D51-9D24-F8CBCADFE478}" srcId="{9AA870F4-49AD-437A-8BDB-B899221F057C}" destId="{D4B431A8-AD1D-4424-8DA0-85434C524D46}" srcOrd="0" destOrd="0" parTransId="{A971AA21-CC04-411B-A542-568EE522E900}" sibTransId="{363A1FAC-7E7A-4E16-97E7-61A69CEB082A}"/>
    <dgm:cxn modelId="{5642AC57-A7F8-4AF0-9455-1C42D04FC06A}" srcId="{9AA870F4-49AD-437A-8BDB-B899221F057C}" destId="{A7A89413-4177-4E9C-83AA-413811BED4EB}" srcOrd="3" destOrd="0" parTransId="{AB0551D0-65D7-4C59-8228-D0A0B13DC841}" sibTransId="{35B12FEB-1D71-401D-BD1B-441817A2FF1A}"/>
    <dgm:cxn modelId="{51697482-F932-44BE-9A9F-84EB61CC09EF}" type="presOf" srcId="{58B185DB-705B-4D57-8F62-9FBF098A68B9}" destId="{1190B134-FC49-4FA7-A077-E37CE66721D9}" srcOrd="0" destOrd="3" presId="urn:microsoft.com/office/officeart/2005/8/layout/venn3"/>
    <dgm:cxn modelId="{FBC9409B-5CEA-45BD-98D2-ECA9225D49EF}" type="presOf" srcId="{A7A89413-4177-4E9C-83AA-413811BED4EB}" destId="{23C263ED-262F-4056-B1CE-A1FFB48795DC}" srcOrd="0" destOrd="0" presId="urn:microsoft.com/office/officeart/2005/8/layout/venn3"/>
    <dgm:cxn modelId="{FF46E0A8-AEB8-46DB-88A4-B3737D60F28C}" type="presOf" srcId="{6141034E-53AE-4163-B000-03EDB69AB106}" destId="{A35AFF8D-434F-45AE-B678-42454849FFC5}" srcOrd="0" destOrd="3" presId="urn:microsoft.com/office/officeart/2005/8/layout/venn3"/>
    <dgm:cxn modelId="{C4C15AAC-D653-4DF5-A512-A11DC44507D1}" type="presOf" srcId="{6E99E5BC-DDA3-4ED6-987C-70240B730935}" destId="{A35AFF8D-434F-45AE-B678-42454849FFC5}" srcOrd="0" destOrd="4" presId="urn:microsoft.com/office/officeart/2005/8/layout/venn3"/>
    <dgm:cxn modelId="{4BA4B9B3-7A18-451A-A6C2-38B1D5205719}" type="presOf" srcId="{EF7E79AE-BF95-45F9-A7B3-506ACD13FF62}" destId="{F5CB5FD5-9D21-4536-A7D5-34E2829EFAA5}" srcOrd="0" destOrd="0" presId="urn:microsoft.com/office/officeart/2005/8/layout/venn3"/>
    <dgm:cxn modelId="{8BEF12B4-91F3-43FD-9A82-5B6F5CC0A088}" srcId="{8B188287-DA88-4A80-8A77-92204B2AE764}" destId="{8A3941C0-5093-4428-90DA-D056095F5315}" srcOrd="0" destOrd="0" parTransId="{AEDA8040-8CCD-4799-B23C-279FBC51C85B}" sibTransId="{A4B33320-5B0B-4D21-8B53-ACA2CC1534A1}"/>
    <dgm:cxn modelId="{BDB32CB4-2376-4076-AAAC-495DF9718375}" srcId="{D4B431A8-AD1D-4424-8DA0-85434C524D46}" destId="{3667741F-75F2-4979-AD84-6A3F49C9E728}" srcOrd="1" destOrd="0" parTransId="{738C9FB3-B7A8-4FCE-A518-29A43A6AF93D}" sibTransId="{DA9C1594-E8A5-40D0-9639-28CED57120E1}"/>
    <dgm:cxn modelId="{B914D9DC-5146-4AE9-814E-BD081B3A8AC8}" type="presOf" srcId="{D4B431A8-AD1D-4424-8DA0-85434C524D46}" destId="{1190B134-FC49-4FA7-A077-E37CE66721D9}" srcOrd="0" destOrd="0" presId="urn:microsoft.com/office/officeart/2005/8/layout/venn3"/>
    <dgm:cxn modelId="{D4E8FC53-8DA2-4A3E-8E57-9032ACFEB8AB}" type="presParOf" srcId="{EB404C3A-0DD5-4F40-B1D9-1E3B3CA7D856}" destId="{1190B134-FC49-4FA7-A077-E37CE66721D9}" srcOrd="0" destOrd="0" presId="urn:microsoft.com/office/officeart/2005/8/layout/venn3"/>
    <dgm:cxn modelId="{6C18FFA0-D598-4558-BCB7-A525766DD882}" type="presParOf" srcId="{EB404C3A-0DD5-4F40-B1D9-1E3B3CA7D856}" destId="{6DAC2A89-E9C1-46B1-BFF1-7E88F94B9495}" srcOrd="1" destOrd="0" presId="urn:microsoft.com/office/officeart/2005/8/layout/venn3"/>
    <dgm:cxn modelId="{A3FD95F4-A357-4076-9851-B5FCC6B97549}" type="presParOf" srcId="{EB404C3A-0DD5-4F40-B1D9-1E3B3CA7D856}" destId="{A35AFF8D-434F-45AE-B678-42454849FFC5}" srcOrd="2" destOrd="0" presId="urn:microsoft.com/office/officeart/2005/8/layout/venn3"/>
    <dgm:cxn modelId="{2C0871E1-7D54-4E54-BE45-C2E3713EAAE7}" type="presParOf" srcId="{EB404C3A-0DD5-4F40-B1D9-1E3B3CA7D856}" destId="{6F3BCE43-2C94-43EC-B318-5DD2CAED51F9}" srcOrd="3" destOrd="0" presId="urn:microsoft.com/office/officeart/2005/8/layout/venn3"/>
    <dgm:cxn modelId="{35099EB0-8D80-4434-AFED-DF56F703DF64}" type="presParOf" srcId="{EB404C3A-0DD5-4F40-B1D9-1E3B3CA7D856}" destId="{F5CB5FD5-9D21-4536-A7D5-34E2829EFAA5}" srcOrd="4" destOrd="0" presId="urn:microsoft.com/office/officeart/2005/8/layout/venn3"/>
    <dgm:cxn modelId="{40CC5DFD-3972-4E89-A74F-83C5A11CDDEA}" type="presParOf" srcId="{EB404C3A-0DD5-4F40-B1D9-1E3B3CA7D856}" destId="{4DC04FFD-DF4C-4946-B96B-F3FD36707CAF}" srcOrd="5" destOrd="0" presId="urn:microsoft.com/office/officeart/2005/8/layout/venn3"/>
    <dgm:cxn modelId="{04084716-9D97-4259-B805-0221063D6B1B}" type="presParOf" srcId="{EB404C3A-0DD5-4F40-B1D9-1E3B3CA7D856}" destId="{23C263ED-262F-4056-B1CE-A1FFB48795DC}"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7A856DC-8F60-4981-8DC9-8577B8627221}" type="doc">
      <dgm:prSet loTypeId="urn:microsoft.com/office/officeart/2005/8/layout/cycle3" loCatId="cycle" qsTypeId="urn:microsoft.com/office/officeart/2005/8/quickstyle/simple4" qsCatId="simple" csTypeId="urn:microsoft.com/office/officeart/2005/8/colors/accent2_3" csCatId="accent2" phldr="1"/>
      <dgm:spPr/>
      <dgm:t>
        <a:bodyPr/>
        <a:lstStyle/>
        <a:p>
          <a:endParaRPr lang="en-US"/>
        </a:p>
      </dgm:t>
    </dgm:pt>
    <dgm:pt modelId="{7FDFEC49-7D41-4702-8FD0-634B4715428C}">
      <dgm:prSet phldrT="[Text]" custT="1"/>
      <dgm:spPr/>
      <dgm:t>
        <a:bodyPr/>
        <a:lstStyle/>
        <a:p>
          <a:r>
            <a:rPr lang="en-US" sz="3200">
              <a:solidFill>
                <a:schemeClr val="tx1">
                  <a:lumMod val="50000"/>
                </a:schemeClr>
              </a:solidFill>
            </a:rPr>
            <a:t>Labor &amp; Delivery </a:t>
          </a:r>
        </a:p>
      </dgm:t>
    </dgm:pt>
    <dgm:pt modelId="{48F5101D-6423-4892-859C-4EB24CD6667B}" type="parTrans" cxnId="{D99F1C83-381E-4CDA-B94E-FC29312791C0}">
      <dgm:prSet/>
      <dgm:spPr/>
      <dgm:t>
        <a:bodyPr/>
        <a:lstStyle/>
        <a:p>
          <a:endParaRPr lang="en-US"/>
        </a:p>
      </dgm:t>
    </dgm:pt>
    <dgm:pt modelId="{6E5EFA5B-178F-4743-A1D4-A0F22CB3E303}" type="sibTrans" cxnId="{D99F1C83-381E-4CDA-B94E-FC29312791C0}">
      <dgm:prSet/>
      <dgm:spPr/>
      <dgm:t>
        <a:bodyPr/>
        <a:lstStyle/>
        <a:p>
          <a:endParaRPr lang="en-US"/>
        </a:p>
      </dgm:t>
    </dgm:pt>
    <dgm:pt modelId="{82A3D805-75A9-44B4-983E-DF5D1AEC1958}">
      <dgm:prSet phldrT="[Text]"/>
      <dgm:spPr/>
      <dgm:t>
        <a:bodyPr/>
        <a:lstStyle/>
        <a:p>
          <a:r>
            <a:rPr lang="en-US">
              <a:solidFill>
                <a:schemeClr val="tx1">
                  <a:lumMod val="50000"/>
                </a:schemeClr>
              </a:solidFill>
            </a:rPr>
            <a:t>PREM</a:t>
          </a:r>
        </a:p>
      </dgm:t>
    </dgm:pt>
    <dgm:pt modelId="{63502C3A-C7A3-4299-8694-3238EADEA6C4}" type="parTrans" cxnId="{8BBF9F27-A3F5-4DFB-8370-A4A63254BDF5}">
      <dgm:prSet/>
      <dgm:spPr/>
      <dgm:t>
        <a:bodyPr/>
        <a:lstStyle/>
        <a:p>
          <a:endParaRPr lang="en-US"/>
        </a:p>
      </dgm:t>
    </dgm:pt>
    <dgm:pt modelId="{B3889D53-FEC9-481D-B352-D19F188792D9}" type="sibTrans" cxnId="{8BBF9F27-A3F5-4DFB-8370-A4A63254BDF5}">
      <dgm:prSet/>
      <dgm:spPr/>
      <dgm:t>
        <a:bodyPr/>
        <a:lstStyle/>
        <a:p>
          <a:endParaRPr lang="en-US"/>
        </a:p>
      </dgm:t>
    </dgm:pt>
    <dgm:pt modelId="{2DD77A87-18A7-43D5-80DF-0FB8D1B7AE23}">
      <dgm:prSet phldrT="[Text]" custT="1"/>
      <dgm:spPr/>
      <dgm:t>
        <a:bodyPr/>
        <a:lstStyle/>
        <a:p>
          <a:r>
            <a:rPr lang="en-US" sz="2800">
              <a:solidFill>
                <a:schemeClr val="tx1">
                  <a:lumMod val="50000"/>
                </a:schemeClr>
              </a:solidFill>
            </a:rPr>
            <a:t>Respectful Care Practices </a:t>
          </a:r>
        </a:p>
      </dgm:t>
    </dgm:pt>
    <dgm:pt modelId="{21D3EF52-BF5D-4DDC-B94E-B8A72A156F51}" type="parTrans" cxnId="{14963AF5-7C57-46DD-B2B1-CB2CF1B8A505}">
      <dgm:prSet/>
      <dgm:spPr/>
      <dgm:t>
        <a:bodyPr/>
        <a:lstStyle/>
        <a:p>
          <a:endParaRPr lang="en-US"/>
        </a:p>
      </dgm:t>
    </dgm:pt>
    <dgm:pt modelId="{01427838-3334-4FE8-87D5-DB42D550E0FA}" type="sibTrans" cxnId="{14963AF5-7C57-46DD-B2B1-CB2CF1B8A505}">
      <dgm:prSet/>
      <dgm:spPr/>
      <dgm:t>
        <a:bodyPr/>
        <a:lstStyle/>
        <a:p>
          <a:endParaRPr lang="en-US"/>
        </a:p>
      </dgm:t>
    </dgm:pt>
    <dgm:pt modelId="{876D978E-5A8E-4EC9-A7D7-4BCDC09E42A2}" type="pres">
      <dgm:prSet presAssocID="{67A856DC-8F60-4981-8DC9-8577B8627221}" presName="Name0" presStyleCnt="0">
        <dgm:presLayoutVars>
          <dgm:dir/>
          <dgm:resizeHandles val="exact"/>
        </dgm:presLayoutVars>
      </dgm:prSet>
      <dgm:spPr/>
    </dgm:pt>
    <dgm:pt modelId="{232E9AEE-8AE7-441D-8C2E-DA12155FB80E}" type="pres">
      <dgm:prSet presAssocID="{67A856DC-8F60-4981-8DC9-8577B8627221}" presName="cycle" presStyleCnt="0"/>
      <dgm:spPr/>
    </dgm:pt>
    <dgm:pt modelId="{51A7A668-3814-4FC8-9280-A38EB37102B8}" type="pres">
      <dgm:prSet presAssocID="{7FDFEC49-7D41-4702-8FD0-634B4715428C}" presName="nodeFirstNode" presStyleLbl="node1" presStyleIdx="0" presStyleCnt="3" custRadScaleRad="103635" custRadScaleInc="-14788">
        <dgm:presLayoutVars>
          <dgm:bulletEnabled val="1"/>
        </dgm:presLayoutVars>
      </dgm:prSet>
      <dgm:spPr/>
    </dgm:pt>
    <dgm:pt modelId="{B660D894-1F6B-4845-BEE8-EE5977748073}" type="pres">
      <dgm:prSet presAssocID="{6E5EFA5B-178F-4743-A1D4-A0F22CB3E303}" presName="sibTransFirstNode" presStyleLbl="bgShp" presStyleIdx="0" presStyleCnt="1" custScaleX="111451" custLinFactNeighborX="3518" custLinFactNeighborY="14092"/>
      <dgm:spPr/>
    </dgm:pt>
    <dgm:pt modelId="{57CA7479-498D-4F79-B0CE-DF87CB90CFF4}" type="pres">
      <dgm:prSet presAssocID="{2DD77A87-18A7-43D5-80DF-0FB8D1B7AE23}" presName="nodeFollowingNodes" presStyleLbl="node1" presStyleIdx="1" presStyleCnt="3">
        <dgm:presLayoutVars>
          <dgm:bulletEnabled val="1"/>
        </dgm:presLayoutVars>
      </dgm:prSet>
      <dgm:spPr/>
    </dgm:pt>
    <dgm:pt modelId="{0669E163-0634-4711-BFF8-7640BCAFA013}" type="pres">
      <dgm:prSet presAssocID="{82A3D805-75A9-44B4-983E-DF5D1AEC1958}" presName="nodeFollowingNodes" presStyleLbl="node1" presStyleIdx="2" presStyleCnt="3">
        <dgm:presLayoutVars>
          <dgm:bulletEnabled val="1"/>
        </dgm:presLayoutVars>
      </dgm:prSet>
      <dgm:spPr/>
    </dgm:pt>
  </dgm:ptLst>
  <dgm:cxnLst>
    <dgm:cxn modelId="{8BBF9F27-A3F5-4DFB-8370-A4A63254BDF5}" srcId="{67A856DC-8F60-4981-8DC9-8577B8627221}" destId="{82A3D805-75A9-44B4-983E-DF5D1AEC1958}" srcOrd="2" destOrd="0" parTransId="{63502C3A-C7A3-4299-8694-3238EADEA6C4}" sibTransId="{B3889D53-FEC9-481D-B352-D19F188792D9}"/>
    <dgm:cxn modelId="{42F3B027-4F85-47A7-8C3A-2B85FB1BFB96}" type="presOf" srcId="{2DD77A87-18A7-43D5-80DF-0FB8D1B7AE23}" destId="{57CA7479-498D-4F79-B0CE-DF87CB90CFF4}" srcOrd="0" destOrd="0" presId="urn:microsoft.com/office/officeart/2005/8/layout/cycle3"/>
    <dgm:cxn modelId="{ED74F836-39B4-4CA3-BA23-7E46FEFFD1A4}" type="presOf" srcId="{7FDFEC49-7D41-4702-8FD0-634B4715428C}" destId="{51A7A668-3814-4FC8-9280-A38EB37102B8}" srcOrd="0" destOrd="0" presId="urn:microsoft.com/office/officeart/2005/8/layout/cycle3"/>
    <dgm:cxn modelId="{D99F1C83-381E-4CDA-B94E-FC29312791C0}" srcId="{67A856DC-8F60-4981-8DC9-8577B8627221}" destId="{7FDFEC49-7D41-4702-8FD0-634B4715428C}" srcOrd="0" destOrd="0" parTransId="{48F5101D-6423-4892-859C-4EB24CD6667B}" sibTransId="{6E5EFA5B-178F-4743-A1D4-A0F22CB3E303}"/>
    <dgm:cxn modelId="{06F90297-FD84-4302-9EF5-AFC24A0A7D33}" type="presOf" srcId="{82A3D805-75A9-44B4-983E-DF5D1AEC1958}" destId="{0669E163-0634-4711-BFF8-7640BCAFA013}" srcOrd="0" destOrd="0" presId="urn:microsoft.com/office/officeart/2005/8/layout/cycle3"/>
    <dgm:cxn modelId="{B16658A0-03CF-4EC3-89D9-9796E861D92B}" type="presOf" srcId="{6E5EFA5B-178F-4743-A1D4-A0F22CB3E303}" destId="{B660D894-1F6B-4845-BEE8-EE5977748073}" srcOrd="0" destOrd="0" presId="urn:microsoft.com/office/officeart/2005/8/layout/cycle3"/>
    <dgm:cxn modelId="{A8D632BB-C277-4FA0-BC1E-D9E4B0D382D9}" type="presOf" srcId="{67A856DC-8F60-4981-8DC9-8577B8627221}" destId="{876D978E-5A8E-4EC9-A7D7-4BCDC09E42A2}" srcOrd="0" destOrd="0" presId="urn:microsoft.com/office/officeart/2005/8/layout/cycle3"/>
    <dgm:cxn modelId="{14963AF5-7C57-46DD-B2B1-CB2CF1B8A505}" srcId="{67A856DC-8F60-4981-8DC9-8577B8627221}" destId="{2DD77A87-18A7-43D5-80DF-0FB8D1B7AE23}" srcOrd="1" destOrd="0" parTransId="{21D3EF52-BF5D-4DDC-B94E-B8A72A156F51}" sibTransId="{01427838-3334-4FE8-87D5-DB42D550E0FA}"/>
    <dgm:cxn modelId="{2E9C07B6-987A-45E4-B62E-4926FA0BD16C}" type="presParOf" srcId="{876D978E-5A8E-4EC9-A7D7-4BCDC09E42A2}" destId="{232E9AEE-8AE7-441D-8C2E-DA12155FB80E}" srcOrd="0" destOrd="0" presId="urn:microsoft.com/office/officeart/2005/8/layout/cycle3"/>
    <dgm:cxn modelId="{A9D23774-7500-4F2D-8547-FB4186D30F50}" type="presParOf" srcId="{232E9AEE-8AE7-441D-8C2E-DA12155FB80E}" destId="{51A7A668-3814-4FC8-9280-A38EB37102B8}" srcOrd="0" destOrd="0" presId="urn:microsoft.com/office/officeart/2005/8/layout/cycle3"/>
    <dgm:cxn modelId="{9F31D249-F1F6-4DC2-B894-BE5FE3BA9EDB}" type="presParOf" srcId="{232E9AEE-8AE7-441D-8C2E-DA12155FB80E}" destId="{B660D894-1F6B-4845-BEE8-EE5977748073}" srcOrd="1" destOrd="0" presId="urn:microsoft.com/office/officeart/2005/8/layout/cycle3"/>
    <dgm:cxn modelId="{EC8BF38D-F24C-4892-B018-E3A0732304E0}" type="presParOf" srcId="{232E9AEE-8AE7-441D-8C2E-DA12155FB80E}" destId="{57CA7479-498D-4F79-B0CE-DF87CB90CFF4}" srcOrd="2" destOrd="0" presId="urn:microsoft.com/office/officeart/2005/8/layout/cycle3"/>
    <dgm:cxn modelId="{8FD934AB-FC02-46B1-8E0A-57C1EA01C51E}" type="presParOf" srcId="{232E9AEE-8AE7-441D-8C2E-DA12155FB80E}" destId="{0669E163-0634-4711-BFF8-7640BCAFA013}" srcOrd="3" destOrd="0" presId="urn:microsoft.com/office/officeart/2005/8/layout/cycle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ECC96BD-B310-4B5A-BC36-CD8C3DFBD704}" type="doc">
      <dgm:prSet loTypeId="urn:microsoft.com/office/officeart/2005/8/layout/vList2" loCatId="list" qsTypeId="urn:microsoft.com/office/officeart/2005/8/quickstyle/simple4" qsCatId="simple" csTypeId="urn:microsoft.com/office/officeart/2005/8/colors/colorful5" csCatId="colorful" phldr="1"/>
      <dgm:spPr/>
      <dgm:t>
        <a:bodyPr/>
        <a:lstStyle/>
        <a:p>
          <a:endParaRPr lang="en-US"/>
        </a:p>
      </dgm:t>
    </dgm:pt>
    <dgm:pt modelId="{2DAF031D-E877-4413-96B1-36933250E709}">
      <dgm:prSet/>
      <dgm:spPr/>
      <dgm:t>
        <a:bodyPr/>
        <a:lstStyle/>
        <a:p>
          <a:r>
            <a:rPr lang="en-US" b="0" i="0" dirty="0">
              <a:solidFill>
                <a:schemeClr val="accent1"/>
              </a:solidFill>
            </a:rPr>
            <a:t>AWHONN SBAR for Equitable Patient Care</a:t>
          </a:r>
          <a:endParaRPr lang="en-US" dirty="0">
            <a:solidFill>
              <a:schemeClr val="accent1"/>
            </a:solidFill>
          </a:endParaRPr>
        </a:p>
      </dgm:t>
    </dgm:pt>
    <dgm:pt modelId="{15D639C4-5E2F-4AB6-9FCE-23A112F7565C}" type="parTrans" cxnId="{9D85AD5D-19C3-4BBF-979B-78421DA1C393}">
      <dgm:prSet/>
      <dgm:spPr/>
      <dgm:t>
        <a:bodyPr/>
        <a:lstStyle/>
        <a:p>
          <a:endParaRPr lang="en-US"/>
        </a:p>
      </dgm:t>
    </dgm:pt>
    <dgm:pt modelId="{61E4E889-E28D-41DB-AB91-32D50B42E34D}" type="sibTrans" cxnId="{9D85AD5D-19C3-4BBF-979B-78421DA1C393}">
      <dgm:prSet/>
      <dgm:spPr/>
      <dgm:t>
        <a:bodyPr/>
        <a:lstStyle/>
        <a:p>
          <a:endParaRPr lang="en-US"/>
        </a:p>
      </dgm:t>
    </dgm:pt>
    <dgm:pt modelId="{B96DDF71-4894-4968-9F1D-1A4B7A93746E}">
      <dgm:prSet/>
      <dgm:spPr/>
      <dgm:t>
        <a:bodyPr/>
        <a:lstStyle/>
        <a:p>
          <a:r>
            <a:rPr lang="en-US" b="0" i="0" dirty="0">
              <a:solidFill>
                <a:schemeClr val="accent1"/>
              </a:solidFill>
            </a:rPr>
            <a:t>CDC Hear Her Campaign</a:t>
          </a:r>
          <a:endParaRPr lang="en-US" dirty="0">
            <a:solidFill>
              <a:schemeClr val="accent1"/>
            </a:solidFill>
          </a:endParaRPr>
        </a:p>
      </dgm:t>
    </dgm:pt>
    <dgm:pt modelId="{A743ACA9-6291-4F33-9B35-4C9600388E4E}" type="parTrans" cxnId="{44C20A60-FA66-43F8-B4AB-9A078114A36E}">
      <dgm:prSet/>
      <dgm:spPr/>
      <dgm:t>
        <a:bodyPr/>
        <a:lstStyle/>
        <a:p>
          <a:endParaRPr lang="en-US"/>
        </a:p>
      </dgm:t>
    </dgm:pt>
    <dgm:pt modelId="{F4EA8514-58B5-4F34-8C84-090CB2E658EB}" type="sibTrans" cxnId="{44C20A60-FA66-43F8-B4AB-9A078114A36E}">
      <dgm:prSet/>
      <dgm:spPr/>
      <dgm:t>
        <a:bodyPr/>
        <a:lstStyle/>
        <a:p>
          <a:endParaRPr lang="en-US"/>
        </a:p>
      </dgm:t>
    </dgm:pt>
    <dgm:pt modelId="{F18E8BCC-073F-4FE6-9FC8-3AAAEAEF0233}">
      <dgm:prSet/>
      <dgm:spPr/>
      <dgm:t>
        <a:bodyPr/>
        <a:lstStyle/>
        <a:p>
          <a:r>
            <a:rPr lang="en-US" b="0" i="0">
              <a:solidFill>
                <a:schemeClr val="accent1"/>
              </a:solidFill>
            </a:rPr>
            <a:t>AWHONN Respectful Maternity Care Guideline &amp; Implementation Toolkit</a:t>
          </a:r>
          <a:endParaRPr lang="en-US" dirty="0">
            <a:solidFill>
              <a:schemeClr val="accent1"/>
            </a:solidFill>
          </a:endParaRPr>
        </a:p>
      </dgm:t>
    </dgm:pt>
    <dgm:pt modelId="{D6DD0030-E292-4279-B0A0-619976B00E7B}" type="parTrans" cxnId="{1A10C78D-5614-4EBF-B0BF-22AEF16F28AE}">
      <dgm:prSet/>
      <dgm:spPr/>
    </dgm:pt>
    <dgm:pt modelId="{2DF54B6F-82E9-414E-8373-D43F825006C9}" type="sibTrans" cxnId="{1A10C78D-5614-4EBF-B0BF-22AEF16F28AE}">
      <dgm:prSet/>
      <dgm:spPr/>
    </dgm:pt>
    <dgm:pt modelId="{28B9EE9D-F7BE-4572-A8A5-1C834C71756B}">
      <dgm:prSet/>
      <dgm:spPr/>
      <dgm:t>
        <a:bodyPr/>
        <a:lstStyle/>
        <a:p>
          <a:r>
            <a:rPr lang="en-US" dirty="0">
              <a:solidFill>
                <a:schemeClr val="accent1"/>
              </a:solidFill>
            </a:rPr>
            <a:t>Active Listening tools </a:t>
          </a:r>
        </a:p>
      </dgm:t>
    </dgm:pt>
    <dgm:pt modelId="{4E681581-5D76-41D1-B6EF-B28559B19859}" type="parTrans" cxnId="{DC54F9D9-7D23-4239-BC4B-71690561FFF4}">
      <dgm:prSet/>
      <dgm:spPr/>
    </dgm:pt>
    <dgm:pt modelId="{83B69163-165A-49F4-A26A-05FC43684614}" type="sibTrans" cxnId="{DC54F9D9-7D23-4239-BC4B-71690561FFF4}">
      <dgm:prSet/>
      <dgm:spPr/>
    </dgm:pt>
    <dgm:pt modelId="{2CA80026-CA7B-4EEA-BD83-F0600BDAEDDF}" type="pres">
      <dgm:prSet presAssocID="{5ECC96BD-B310-4B5A-BC36-CD8C3DFBD704}" presName="linear" presStyleCnt="0">
        <dgm:presLayoutVars>
          <dgm:animLvl val="lvl"/>
          <dgm:resizeHandles val="exact"/>
        </dgm:presLayoutVars>
      </dgm:prSet>
      <dgm:spPr/>
    </dgm:pt>
    <dgm:pt modelId="{4D4F11D6-1EF8-4060-B2E6-9038C247497D}" type="pres">
      <dgm:prSet presAssocID="{2DAF031D-E877-4413-96B1-36933250E709}" presName="parentText" presStyleLbl="node1" presStyleIdx="0" presStyleCnt="4">
        <dgm:presLayoutVars>
          <dgm:chMax val="0"/>
          <dgm:bulletEnabled val="1"/>
        </dgm:presLayoutVars>
      </dgm:prSet>
      <dgm:spPr/>
    </dgm:pt>
    <dgm:pt modelId="{46C33B92-3A59-4360-856C-B2705003BFD7}" type="pres">
      <dgm:prSet presAssocID="{61E4E889-E28D-41DB-AB91-32D50B42E34D}" presName="spacer" presStyleCnt="0"/>
      <dgm:spPr/>
    </dgm:pt>
    <dgm:pt modelId="{9C18E8AF-0D2A-4DE8-A62E-EB7671F50AF6}" type="pres">
      <dgm:prSet presAssocID="{F18E8BCC-073F-4FE6-9FC8-3AAAEAEF0233}" presName="parentText" presStyleLbl="node1" presStyleIdx="1" presStyleCnt="4">
        <dgm:presLayoutVars>
          <dgm:chMax val="0"/>
          <dgm:bulletEnabled val="1"/>
        </dgm:presLayoutVars>
      </dgm:prSet>
      <dgm:spPr/>
    </dgm:pt>
    <dgm:pt modelId="{591229AC-D52B-4A2A-931A-5C4E9616F86A}" type="pres">
      <dgm:prSet presAssocID="{2DF54B6F-82E9-414E-8373-D43F825006C9}" presName="spacer" presStyleCnt="0"/>
      <dgm:spPr/>
    </dgm:pt>
    <dgm:pt modelId="{AAEFC77D-22A8-40A3-BA1E-90CD98901997}" type="pres">
      <dgm:prSet presAssocID="{B96DDF71-4894-4968-9F1D-1A4B7A93746E}" presName="parentText" presStyleLbl="node1" presStyleIdx="2" presStyleCnt="4">
        <dgm:presLayoutVars>
          <dgm:chMax val="0"/>
          <dgm:bulletEnabled val="1"/>
        </dgm:presLayoutVars>
      </dgm:prSet>
      <dgm:spPr/>
    </dgm:pt>
    <dgm:pt modelId="{7942DD05-103E-4C09-9D0A-347E8AE476B2}" type="pres">
      <dgm:prSet presAssocID="{F4EA8514-58B5-4F34-8C84-090CB2E658EB}" presName="spacer" presStyleCnt="0"/>
      <dgm:spPr/>
    </dgm:pt>
    <dgm:pt modelId="{63B74095-A186-446D-86DC-7CF505A20D35}" type="pres">
      <dgm:prSet presAssocID="{28B9EE9D-F7BE-4572-A8A5-1C834C71756B}" presName="parentText" presStyleLbl="node1" presStyleIdx="3" presStyleCnt="4">
        <dgm:presLayoutVars>
          <dgm:chMax val="0"/>
          <dgm:bulletEnabled val="1"/>
        </dgm:presLayoutVars>
      </dgm:prSet>
      <dgm:spPr/>
    </dgm:pt>
  </dgm:ptLst>
  <dgm:cxnLst>
    <dgm:cxn modelId="{9D85AD5D-19C3-4BBF-979B-78421DA1C393}" srcId="{5ECC96BD-B310-4B5A-BC36-CD8C3DFBD704}" destId="{2DAF031D-E877-4413-96B1-36933250E709}" srcOrd="0" destOrd="0" parTransId="{15D639C4-5E2F-4AB6-9FCE-23A112F7565C}" sibTransId="{61E4E889-E28D-41DB-AB91-32D50B42E34D}"/>
    <dgm:cxn modelId="{44C20A60-FA66-43F8-B4AB-9A078114A36E}" srcId="{5ECC96BD-B310-4B5A-BC36-CD8C3DFBD704}" destId="{B96DDF71-4894-4968-9F1D-1A4B7A93746E}" srcOrd="2" destOrd="0" parTransId="{A743ACA9-6291-4F33-9B35-4C9600388E4E}" sibTransId="{F4EA8514-58B5-4F34-8C84-090CB2E658EB}"/>
    <dgm:cxn modelId="{A9CAE148-1C3D-4A90-9A5C-C3461C793891}" type="presOf" srcId="{28B9EE9D-F7BE-4572-A8A5-1C834C71756B}" destId="{63B74095-A186-446D-86DC-7CF505A20D35}" srcOrd="0" destOrd="0" presId="urn:microsoft.com/office/officeart/2005/8/layout/vList2"/>
    <dgm:cxn modelId="{1A10C78D-5614-4EBF-B0BF-22AEF16F28AE}" srcId="{5ECC96BD-B310-4B5A-BC36-CD8C3DFBD704}" destId="{F18E8BCC-073F-4FE6-9FC8-3AAAEAEF0233}" srcOrd="1" destOrd="0" parTransId="{D6DD0030-E292-4279-B0A0-619976B00E7B}" sibTransId="{2DF54B6F-82E9-414E-8373-D43F825006C9}"/>
    <dgm:cxn modelId="{7C38A194-F61C-4173-8497-E9CD11331EA2}" type="presOf" srcId="{2DAF031D-E877-4413-96B1-36933250E709}" destId="{4D4F11D6-1EF8-4060-B2E6-9038C247497D}" srcOrd="0" destOrd="0" presId="urn:microsoft.com/office/officeart/2005/8/layout/vList2"/>
    <dgm:cxn modelId="{73B543B1-2629-40C2-94CC-4CCD239DA534}" type="presOf" srcId="{B96DDF71-4894-4968-9F1D-1A4B7A93746E}" destId="{AAEFC77D-22A8-40A3-BA1E-90CD98901997}" srcOrd="0" destOrd="0" presId="urn:microsoft.com/office/officeart/2005/8/layout/vList2"/>
    <dgm:cxn modelId="{84C1B2C4-C964-4D25-8CF8-E42BE4066EE0}" type="presOf" srcId="{5ECC96BD-B310-4B5A-BC36-CD8C3DFBD704}" destId="{2CA80026-CA7B-4EEA-BD83-F0600BDAEDDF}" srcOrd="0" destOrd="0" presId="urn:microsoft.com/office/officeart/2005/8/layout/vList2"/>
    <dgm:cxn modelId="{918922D8-7D36-4900-AB91-F5C9B10EBF04}" type="presOf" srcId="{F18E8BCC-073F-4FE6-9FC8-3AAAEAEF0233}" destId="{9C18E8AF-0D2A-4DE8-A62E-EB7671F50AF6}" srcOrd="0" destOrd="0" presId="urn:microsoft.com/office/officeart/2005/8/layout/vList2"/>
    <dgm:cxn modelId="{DC54F9D9-7D23-4239-BC4B-71690561FFF4}" srcId="{5ECC96BD-B310-4B5A-BC36-CD8C3DFBD704}" destId="{28B9EE9D-F7BE-4572-A8A5-1C834C71756B}" srcOrd="3" destOrd="0" parTransId="{4E681581-5D76-41D1-B6EF-B28559B19859}" sibTransId="{83B69163-165A-49F4-A26A-05FC43684614}"/>
    <dgm:cxn modelId="{291E53EE-0961-4637-8535-1C34862A9126}" type="presParOf" srcId="{2CA80026-CA7B-4EEA-BD83-F0600BDAEDDF}" destId="{4D4F11D6-1EF8-4060-B2E6-9038C247497D}" srcOrd="0" destOrd="0" presId="urn:microsoft.com/office/officeart/2005/8/layout/vList2"/>
    <dgm:cxn modelId="{75ED4F3F-2C45-47D5-A835-0490CF35D733}" type="presParOf" srcId="{2CA80026-CA7B-4EEA-BD83-F0600BDAEDDF}" destId="{46C33B92-3A59-4360-856C-B2705003BFD7}" srcOrd="1" destOrd="0" presId="urn:microsoft.com/office/officeart/2005/8/layout/vList2"/>
    <dgm:cxn modelId="{C1DB34E8-AC6F-43C3-958F-FBA2168D19ED}" type="presParOf" srcId="{2CA80026-CA7B-4EEA-BD83-F0600BDAEDDF}" destId="{9C18E8AF-0D2A-4DE8-A62E-EB7671F50AF6}" srcOrd="2" destOrd="0" presId="urn:microsoft.com/office/officeart/2005/8/layout/vList2"/>
    <dgm:cxn modelId="{AE44598F-A7F5-4E30-8012-8638006034B1}" type="presParOf" srcId="{2CA80026-CA7B-4EEA-BD83-F0600BDAEDDF}" destId="{591229AC-D52B-4A2A-931A-5C4E9616F86A}" srcOrd="3" destOrd="0" presId="urn:microsoft.com/office/officeart/2005/8/layout/vList2"/>
    <dgm:cxn modelId="{CE785DA2-803D-4547-ACB3-39971F2D69F2}" type="presParOf" srcId="{2CA80026-CA7B-4EEA-BD83-F0600BDAEDDF}" destId="{AAEFC77D-22A8-40A3-BA1E-90CD98901997}" srcOrd="4" destOrd="0" presId="urn:microsoft.com/office/officeart/2005/8/layout/vList2"/>
    <dgm:cxn modelId="{4AE42E66-8746-4231-89BE-3D6D4932768F}" type="presParOf" srcId="{2CA80026-CA7B-4EEA-BD83-F0600BDAEDDF}" destId="{7942DD05-103E-4C09-9D0A-347E8AE476B2}" srcOrd="5" destOrd="0" presId="urn:microsoft.com/office/officeart/2005/8/layout/vList2"/>
    <dgm:cxn modelId="{B23790DE-011A-4031-B481-12D02A89711A}" type="presParOf" srcId="{2CA80026-CA7B-4EEA-BD83-F0600BDAEDDF}" destId="{63B74095-A186-446D-86DC-7CF505A20D35}"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ECC96BD-B310-4B5A-BC36-CD8C3DFBD704}" type="doc">
      <dgm:prSet loTypeId="urn:microsoft.com/office/officeart/2005/8/layout/vList2" loCatId="list" qsTypeId="urn:microsoft.com/office/officeart/2005/8/quickstyle/simple4" qsCatId="simple" csTypeId="urn:microsoft.com/office/officeart/2005/8/colors/colorful5" csCatId="colorful" phldr="1"/>
      <dgm:spPr/>
      <dgm:t>
        <a:bodyPr/>
        <a:lstStyle/>
        <a:p>
          <a:endParaRPr lang="en-US"/>
        </a:p>
      </dgm:t>
    </dgm:pt>
    <dgm:pt modelId="{72C4AC26-0849-46D5-930B-31162054B6C1}">
      <dgm:prSet phldr="0"/>
      <dgm:spPr/>
      <dgm:t>
        <a:bodyPr/>
        <a:lstStyle/>
        <a:p>
          <a:pPr rtl="0"/>
          <a:r>
            <a:rPr lang="en-US" dirty="0">
              <a:latin typeface="Calibri" panose="020F0502020204030204"/>
            </a:rPr>
            <a:t>Birth Place Lab Decision Making Tool</a:t>
          </a:r>
        </a:p>
      </dgm:t>
    </dgm:pt>
    <dgm:pt modelId="{86DED518-D584-40C4-AD39-27C6AACCAFBA}" type="parTrans" cxnId="{8338EA33-69B6-426A-9CC7-60DC37300B60}">
      <dgm:prSet/>
      <dgm:spPr/>
      <dgm:t>
        <a:bodyPr/>
        <a:lstStyle/>
        <a:p>
          <a:endParaRPr lang="en-US"/>
        </a:p>
      </dgm:t>
    </dgm:pt>
    <dgm:pt modelId="{84AF1340-10E5-4953-ADD7-072A28C5AB9C}" type="sibTrans" cxnId="{8338EA33-69B6-426A-9CC7-60DC37300B60}">
      <dgm:prSet/>
      <dgm:spPr/>
      <dgm:t>
        <a:bodyPr/>
        <a:lstStyle/>
        <a:p>
          <a:endParaRPr lang="en-US"/>
        </a:p>
      </dgm:t>
    </dgm:pt>
    <dgm:pt modelId="{EC448663-6C38-4536-AC61-BD87234B2F64}">
      <dgm:prSet phldr="0"/>
      <dgm:spPr/>
      <dgm:t>
        <a:bodyPr/>
        <a:lstStyle/>
        <a:p>
          <a:pPr rtl="0"/>
          <a:r>
            <a:rPr lang="en-US" dirty="0">
              <a:latin typeface="Calibri" panose="020F0502020204030204"/>
            </a:rPr>
            <a:t>CMQCC SHARE Model</a:t>
          </a:r>
        </a:p>
      </dgm:t>
    </dgm:pt>
    <dgm:pt modelId="{FA7C0388-8FD2-4678-8617-BA81877386D2}" type="parTrans" cxnId="{FF224054-22A4-4007-AE5D-8738ECAC0916}">
      <dgm:prSet/>
      <dgm:spPr/>
      <dgm:t>
        <a:bodyPr/>
        <a:lstStyle/>
        <a:p>
          <a:endParaRPr lang="en-US"/>
        </a:p>
      </dgm:t>
    </dgm:pt>
    <dgm:pt modelId="{D712A4E8-A29D-421F-9A73-1B8354D38F03}" type="sibTrans" cxnId="{FF224054-22A4-4007-AE5D-8738ECAC0916}">
      <dgm:prSet/>
      <dgm:spPr/>
      <dgm:t>
        <a:bodyPr/>
        <a:lstStyle/>
        <a:p>
          <a:endParaRPr lang="en-US"/>
        </a:p>
      </dgm:t>
    </dgm:pt>
    <dgm:pt modelId="{F1B663F8-1B73-4271-B2E5-8D2F14A33E23}">
      <dgm:prSet phldr="0"/>
      <dgm:spPr/>
      <dgm:t>
        <a:bodyPr/>
        <a:lstStyle/>
        <a:p>
          <a:pPr rtl="0"/>
          <a:r>
            <a:rPr lang="en-US" dirty="0">
              <a:latin typeface="Calibri" panose="020F0502020204030204"/>
            </a:rPr>
            <a:t>AHRQ SHARE Approach</a:t>
          </a:r>
          <a:endParaRPr lang="en-US" dirty="0">
            <a:solidFill>
              <a:schemeClr val="bg1"/>
            </a:solidFill>
            <a:latin typeface="Calibri" panose="020F0502020204030204"/>
          </a:endParaRPr>
        </a:p>
      </dgm:t>
    </dgm:pt>
    <dgm:pt modelId="{9E3EF947-8DE2-475E-9B0B-21AD6566BAB9}" type="parTrans" cxnId="{2C5A2C39-98E5-4C3E-8360-552519B6F2C8}">
      <dgm:prSet/>
      <dgm:spPr/>
      <dgm:t>
        <a:bodyPr/>
        <a:lstStyle/>
        <a:p>
          <a:endParaRPr lang="en-US"/>
        </a:p>
      </dgm:t>
    </dgm:pt>
    <dgm:pt modelId="{3317E890-17BE-4499-AE68-F1C80F084CF9}" type="sibTrans" cxnId="{2C5A2C39-98E5-4C3E-8360-552519B6F2C8}">
      <dgm:prSet/>
      <dgm:spPr/>
      <dgm:t>
        <a:bodyPr/>
        <a:lstStyle/>
        <a:p>
          <a:endParaRPr lang="en-US"/>
        </a:p>
      </dgm:t>
    </dgm:pt>
    <dgm:pt modelId="{E3B3C4A5-D8FE-4A7C-89AF-66869C12926A}">
      <dgm:prSet phldr="0"/>
      <dgm:spPr/>
      <dgm:t>
        <a:bodyPr/>
        <a:lstStyle/>
        <a:p>
          <a:pPr rtl="0"/>
          <a:r>
            <a:rPr lang="en-US" dirty="0">
              <a:solidFill>
                <a:schemeClr val="bg1"/>
              </a:solidFill>
              <a:latin typeface="Calibri" panose="020F0502020204030204"/>
            </a:rPr>
            <a:t>Additional Patient Education Resources</a:t>
          </a:r>
          <a:endParaRPr lang="en-US" dirty="0">
            <a:solidFill>
              <a:schemeClr val="bg1"/>
            </a:solidFill>
          </a:endParaRPr>
        </a:p>
      </dgm:t>
    </dgm:pt>
    <dgm:pt modelId="{8C5924D8-9B32-45BB-9AD7-CAEE5004992C}" type="parTrans" cxnId="{DA0B8466-59C3-4BE2-B098-F7CCE85F1F39}">
      <dgm:prSet/>
      <dgm:spPr/>
      <dgm:t>
        <a:bodyPr/>
        <a:lstStyle/>
        <a:p>
          <a:endParaRPr lang="en-US"/>
        </a:p>
      </dgm:t>
    </dgm:pt>
    <dgm:pt modelId="{D141A630-94C5-4E4E-BE76-F6A35884C62B}" type="sibTrans" cxnId="{DA0B8466-59C3-4BE2-B098-F7CCE85F1F39}">
      <dgm:prSet/>
      <dgm:spPr/>
      <dgm:t>
        <a:bodyPr/>
        <a:lstStyle/>
        <a:p>
          <a:endParaRPr lang="en-US"/>
        </a:p>
      </dgm:t>
    </dgm:pt>
    <dgm:pt modelId="{B4762A08-032C-4FD8-9077-7D244318848D}">
      <dgm:prSet phldr="0"/>
      <dgm:spPr/>
      <dgm:t>
        <a:bodyPr/>
        <a:lstStyle/>
        <a:p>
          <a:pPr rtl="0"/>
          <a:r>
            <a:rPr lang="en-US" b="0" i="0" dirty="0" err="1">
              <a:latin typeface="Calibri" panose="020F0502020204030204"/>
            </a:rPr>
            <a:t>TeamBirth</a:t>
          </a:r>
          <a:r>
            <a:rPr lang="en-US" dirty="0">
              <a:latin typeface="Calibri" panose="020F0502020204030204"/>
            </a:rPr>
            <a:t> Labor and Delivery Planning Board</a:t>
          </a:r>
        </a:p>
      </dgm:t>
    </dgm:pt>
    <dgm:pt modelId="{7F39E9EF-FB40-41E2-AE88-E147FCB72E77}" type="parTrans" cxnId="{AF078245-6A54-47FC-A4A0-5898957D85BC}">
      <dgm:prSet/>
      <dgm:spPr/>
      <dgm:t>
        <a:bodyPr/>
        <a:lstStyle/>
        <a:p>
          <a:endParaRPr lang="en-US"/>
        </a:p>
      </dgm:t>
    </dgm:pt>
    <dgm:pt modelId="{8E9134B8-9124-49BB-88D7-D534B281E81E}" type="sibTrans" cxnId="{AF078245-6A54-47FC-A4A0-5898957D85BC}">
      <dgm:prSet/>
      <dgm:spPr/>
      <dgm:t>
        <a:bodyPr/>
        <a:lstStyle/>
        <a:p>
          <a:endParaRPr lang="en-US"/>
        </a:p>
      </dgm:t>
    </dgm:pt>
    <dgm:pt modelId="{659A037F-1852-4C0E-9E1F-ADBF07628E95}">
      <dgm:prSet phldr="0"/>
      <dgm:spPr/>
      <dgm:t>
        <a:bodyPr/>
        <a:lstStyle/>
        <a:p>
          <a:pPr rtl="0"/>
          <a:r>
            <a:rPr lang="en-US">
              <a:latin typeface="Calibri" panose="020F0502020204030204"/>
            </a:rPr>
            <a:t>Sparrow</a:t>
          </a:r>
          <a:r>
            <a:rPr lang="en-US">
              <a:solidFill>
                <a:schemeClr val="bg1"/>
              </a:solidFill>
              <a:latin typeface="Calibri" panose="020F0502020204030204"/>
            </a:rPr>
            <a:t> </a:t>
          </a:r>
          <a:r>
            <a:rPr lang="en-US" dirty="0">
              <a:solidFill>
                <a:schemeClr val="bg1"/>
              </a:solidFill>
              <a:latin typeface="Calibri" panose="020F0502020204030204"/>
            </a:rPr>
            <a:t>Health Labor Partnership Agreement </a:t>
          </a:r>
        </a:p>
      </dgm:t>
    </dgm:pt>
    <dgm:pt modelId="{59894265-824A-457D-A586-9B0A75E1ADC4}" type="parTrans" cxnId="{1D873804-C5B2-47D9-845F-05609E181960}">
      <dgm:prSet/>
      <dgm:spPr/>
      <dgm:t>
        <a:bodyPr/>
        <a:lstStyle/>
        <a:p>
          <a:endParaRPr lang="en-US"/>
        </a:p>
      </dgm:t>
    </dgm:pt>
    <dgm:pt modelId="{6C343E3A-E058-456C-98C5-6FFF550135BE}" type="sibTrans" cxnId="{1D873804-C5B2-47D9-845F-05609E181960}">
      <dgm:prSet/>
      <dgm:spPr/>
      <dgm:t>
        <a:bodyPr/>
        <a:lstStyle/>
        <a:p>
          <a:endParaRPr lang="en-US"/>
        </a:p>
      </dgm:t>
    </dgm:pt>
    <dgm:pt modelId="{2CA80026-CA7B-4EEA-BD83-F0600BDAEDDF}" type="pres">
      <dgm:prSet presAssocID="{5ECC96BD-B310-4B5A-BC36-CD8C3DFBD704}" presName="linear" presStyleCnt="0">
        <dgm:presLayoutVars>
          <dgm:animLvl val="lvl"/>
          <dgm:resizeHandles val="exact"/>
        </dgm:presLayoutVars>
      </dgm:prSet>
      <dgm:spPr/>
    </dgm:pt>
    <dgm:pt modelId="{9216484E-4B9E-49CE-A417-7D7449F035A3}" type="pres">
      <dgm:prSet presAssocID="{72C4AC26-0849-46D5-930B-31162054B6C1}" presName="parentText" presStyleLbl="node1" presStyleIdx="0" presStyleCnt="6">
        <dgm:presLayoutVars>
          <dgm:chMax val="0"/>
          <dgm:bulletEnabled val="1"/>
        </dgm:presLayoutVars>
      </dgm:prSet>
      <dgm:spPr/>
    </dgm:pt>
    <dgm:pt modelId="{4FB67327-0F4B-40BE-B7F5-3B61B2F1CAE8}" type="pres">
      <dgm:prSet presAssocID="{84AF1340-10E5-4953-ADD7-072A28C5AB9C}" presName="spacer" presStyleCnt="0"/>
      <dgm:spPr/>
    </dgm:pt>
    <dgm:pt modelId="{5D09499A-FD44-4743-B9A3-5ED339B8FBE3}" type="pres">
      <dgm:prSet presAssocID="{EC448663-6C38-4536-AC61-BD87234B2F64}" presName="parentText" presStyleLbl="node1" presStyleIdx="1" presStyleCnt="6">
        <dgm:presLayoutVars>
          <dgm:chMax val="0"/>
          <dgm:bulletEnabled val="1"/>
        </dgm:presLayoutVars>
      </dgm:prSet>
      <dgm:spPr/>
    </dgm:pt>
    <dgm:pt modelId="{65C1645E-143A-4B8C-AFBA-D66EF5C37F8F}" type="pres">
      <dgm:prSet presAssocID="{D712A4E8-A29D-421F-9A73-1B8354D38F03}" presName="spacer" presStyleCnt="0"/>
      <dgm:spPr/>
    </dgm:pt>
    <dgm:pt modelId="{36E8DE92-0E40-49A0-82FF-2FB398F0E873}" type="pres">
      <dgm:prSet presAssocID="{F1B663F8-1B73-4271-B2E5-8D2F14A33E23}" presName="parentText" presStyleLbl="node1" presStyleIdx="2" presStyleCnt="6">
        <dgm:presLayoutVars>
          <dgm:chMax val="0"/>
          <dgm:bulletEnabled val="1"/>
        </dgm:presLayoutVars>
      </dgm:prSet>
      <dgm:spPr/>
    </dgm:pt>
    <dgm:pt modelId="{8F9D5664-5A4D-4A78-A5EB-F86F725AA541}" type="pres">
      <dgm:prSet presAssocID="{3317E890-17BE-4499-AE68-F1C80F084CF9}" presName="spacer" presStyleCnt="0"/>
      <dgm:spPr/>
    </dgm:pt>
    <dgm:pt modelId="{59B9E0DA-0367-410B-A64C-C9073B4CAC79}" type="pres">
      <dgm:prSet presAssocID="{659A037F-1852-4C0E-9E1F-ADBF07628E95}" presName="parentText" presStyleLbl="node1" presStyleIdx="3" presStyleCnt="6">
        <dgm:presLayoutVars>
          <dgm:chMax val="0"/>
          <dgm:bulletEnabled val="1"/>
        </dgm:presLayoutVars>
      </dgm:prSet>
      <dgm:spPr/>
    </dgm:pt>
    <dgm:pt modelId="{74F76B33-6831-42BD-8537-3B5B8569B32E}" type="pres">
      <dgm:prSet presAssocID="{6C343E3A-E058-456C-98C5-6FFF550135BE}" presName="spacer" presStyleCnt="0"/>
      <dgm:spPr/>
    </dgm:pt>
    <dgm:pt modelId="{09051385-436C-4EDC-BBDD-AF71DCF25480}" type="pres">
      <dgm:prSet presAssocID="{B4762A08-032C-4FD8-9077-7D244318848D}" presName="parentText" presStyleLbl="node1" presStyleIdx="4" presStyleCnt="6">
        <dgm:presLayoutVars>
          <dgm:chMax val="0"/>
          <dgm:bulletEnabled val="1"/>
        </dgm:presLayoutVars>
      </dgm:prSet>
      <dgm:spPr/>
    </dgm:pt>
    <dgm:pt modelId="{91F52BE6-D090-40D7-BD81-5DBAAB4BDDFD}" type="pres">
      <dgm:prSet presAssocID="{8E9134B8-9124-49BB-88D7-D534B281E81E}" presName="spacer" presStyleCnt="0"/>
      <dgm:spPr/>
    </dgm:pt>
    <dgm:pt modelId="{E85CAB4D-3008-4438-B4B7-66D5CC778B0B}" type="pres">
      <dgm:prSet presAssocID="{E3B3C4A5-D8FE-4A7C-89AF-66869C12926A}" presName="parentText" presStyleLbl="node1" presStyleIdx="5" presStyleCnt="6">
        <dgm:presLayoutVars>
          <dgm:chMax val="0"/>
          <dgm:bulletEnabled val="1"/>
        </dgm:presLayoutVars>
      </dgm:prSet>
      <dgm:spPr/>
    </dgm:pt>
  </dgm:ptLst>
  <dgm:cxnLst>
    <dgm:cxn modelId="{1D873804-C5B2-47D9-845F-05609E181960}" srcId="{5ECC96BD-B310-4B5A-BC36-CD8C3DFBD704}" destId="{659A037F-1852-4C0E-9E1F-ADBF07628E95}" srcOrd="3" destOrd="0" parTransId="{59894265-824A-457D-A586-9B0A75E1ADC4}" sibTransId="{6C343E3A-E058-456C-98C5-6FFF550135BE}"/>
    <dgm:cxn modelId="{5499C730-93CD-4E10-8E62-93CA463365F2}" type="presOf" srcId="{B4762A08-032C-4FD8-9077-7D244318848D}" destId="{09051385-436C-4EDC-BBDD-AF71DCF25480}" srcOrd="0" destOrd="0" presId="urn:microsoft.com/office/officeart/2005/8/layout/vList2"/>
    <dgm:cxn modelId="{8338EA33-69B6-426A-9CC7-60DC37300B60}" srcId="{5ECC96BD-B310-4B5A-BC36-CD8C3DFBD704}" destId="{72C4AC26-0849-46D5-930B-31162054B6C1}" srcOrd="0" destOrd="0" parTransId="{86DED518-D584-40C4-AD39-27C6AACCAFBA}" sibTransId="{84AF1340-10E5-4953-ADD7-072A28C5AB9C}"/>
    <dgm:cxn modelId="{2C5A2C39-98E5-4C3E-8360-552519B6F2C8}" srcId="{5ECC96BD-B310-4B5A-BC36-CD8C3DFBD704}" destId="{F1B663F8-1B73-4271-B2E5-8D2F14A33E23}" srcOrd="2" destOrd="0" parTransId="{9E3EF947-8DE2-475E-9B0B-21AD6566BAB9}" sibTransId="{3317E890-17BE-4499-AE68-F1C80F084CF9}"/>
    <dgm:cxn modelId="{AF078245-6A54-47FC-A4A0-5898957D85BC}" srcId="{5ECC96BD-B310-4B5A-BC36-CD8C3DFBD704}" destId="{B4762A08-032C-4FD8-9077-7D244318848D}" srcOrd="4" destOrd="0" parTransId="{7F39E9EF-FB40-41E2-AE88-E147FCB72E77}" sibTransId="{8E9134B8-9124-49BB-88D7-D534B281E81E}"/>
    <dgm:cxn modelId="{DA0B8466-59C3-4BE2-B098-F7CCE85F1F39}" srcId="{5ECC96BD-B310-4B5A-BC36-CD8C3DFBD704}" destId="{E3B3C4A5-D8FE-4A7C-89AF-66869C12926A}" srcOrd="5" destOrd="0" parTransId="{8C5924D8-9B32-45BB-9AD7-CAEE5004992C}" sibTransId="{D141A630-94C5-4E4E-BE76-F6A35884C62B}"/>
    <dgm:cxn modelId="{FF224054-22A4-4007-AE5D-8738ECAC0916}" srcId="{5ECC96BD-B310-4B5A-BC36-CD8C3DFBD704}" destId="{EC448663-6C38-4536-AC61-BD87234B2F64}" srcOrd="1" destOrd="0" parTransId="{FA7C0388-8FD2-4678-8617-BA81877386D2}" sibTransId="{D712A4E8-A29D-421F-9A73-1B8354D38F03}"/>
    <dgm:cxn modelId="{3E322C75-BB19-48E1-8CB1-C33E34082489}" type="presOf" srcId="{72C4AC26-0849-46D5-930B-31162054B6C1}" destId="{9216484E-4B9E-49CE-A417-7D7449F035A3}" srcOrd="0" destOrd="0" presId="urn:microsoft.com/office/officeart/2005/8/layout/vList2"/>
    <dgm:cxn modelId="{0F688F77-CB45-418E-831E-7C1B2E538C09}" type="presOf" srcId="{EC448663-6C38-4536-AC61-BD87234B2F64}" destId="{5D09499A-FD44-4743-B9A3-5ED339B8FBE3}" srcOrd="0" destOrd="0" presId="urn:microsoft.com/office/officeart/2005/8/layout/vList2"/>
    <dgm:cxn modelId="{4C59E69D-1B5A-4807-82D7-5D15DC8BA4A2}" type="presOf" srcId="{659A037F-1852-4C0E-9E1F-ADBF07628E95}" destId="{59B9E0DA-0367-410B-A64C-C9073B4CAC79}" srcOrd="0" destOrd="0" presId="urn:microsoft.com/office/officeart/2005/8/layout/vList2"/>
    <dgm:cxn modelId="{84C1B2C4-C964-4D25-8CF8-E42BE4066EE0}" type="presOf" srcId="{5ECC96BD-B310-4B5A-BC36-CD8C3DFBD704}" destId="{2CA80026-CA7B-4EEA-BD83-F0600BDAEDDF}" srcOrd="0" destOrd="0" presId="urn:microsoft.com/office/officeart/2005/8/layout/vList2"/>
    <dgm:cxn modelId="{E2D122D0-19CF-4921-B2F7-0FB8EA428410}" type="presOf" srcId="{F1B663F8-1B73-4271-B2E5-8D2F14A33E23}" destId="{36E8DE92-0E40-49A0-82FF-2FB398F0E873}" srcOrd="0" destOrd="0" presId="urn:microsoft.com/office/officeart/2005/8/layout/vList2"/>
    <dgm:cxn modelId="{FD0539E8-037C-4708-BA71-734599DCC054}" type="presOf" srcId="{E3B3C4A5-D8FE-4A7C-89AF-66869C12926A}" destId="{E85CAB4D-3008-4438-B4B7-66D5CC778B0B}" srcOrd="0" destOrd="0" presId="urn:microsoft.com/office/officeart/2005/8/layout/vList2"/>
    <dgm:cxn modelId="{5D7EF129-5377-4F99-B1C7-156A1DDAD78A}" type="presParOf" srcId="{2CA80026-CA7B-4EEA-BD83-F0600BDAEDDF}" destId="{9216484E-4B9E-49CE-A417-7D7449F035A3}" srcOrd="0" destOrd="0" presId="urn:microsoft.com/office/officeart/2005/8/layout/vList2"/>
    <dgm:cxn modelId="{5D2CEE23-7CF0-48C4-AFCC-E0A6207B136E}" type="presParOf" srcId="{2CA80026-CA7B-4EEA-BD83-F0600BDAEDDF}" destId="{4FB67327-0F4B-40BE-B7F5-3B61B2F1CAE8}" srcOrd="1" destOrd="0" presId="urn:microsoft.com/office/officeart/2005/8/layout/vList2"/>
    <dgm:cxn modelId="{2F91DC29-171B-4AA6-83B3-B65F022183F8}" type="presParOf" srcId="{2CA80026-CA7B-4EEA-BD83-F0600BDAEDDF}" destId="{5D09499A-FD44-4743-B9A3-5ED339B8FBE3}" srcOrd="2" destOrd="0" presId="urn:microsoft.com/office/officeart/2005/8/layout/vList2"/>
    <dgm:cxn modelId="{2462C5E0-D651-41CA-A078-5EC8E20341BF}" type="presParOf" srcId="{2CA80026-CA7B-4EEA-BD83-F0600BDAEDDF}" destId="{65C1645E-143A-4B8C-AFBA-D66EF5C37F8F}" srcOrd="3" destOrd="0" presId="urn:microsoft.com/office/officeart/2005/8/layout/vList2"/>
    <dgm:cxn modelId="{ADD4DD51-FDF3-42E9-80B6-603F80ABF8A4}" type="presParOf" srcId="{2CA80026-CA7B-4EEA-BD83-F0600BDAEDDF}" destId="{36E8DE92-0E40-49A0-82FF-2FB398F0E873}" srcOrd="4" destOrd="0" presId="urn:microsoft.com/office/officeart/2005/8/layout/vList2"/>
    <dgm:cxn modelId="{ACAEFF50-F345-43B7-BF8C-33D19D97DD99}" type="presParOf" srcId="{2CA80026-CA7B-4EEA-BD83-F0600BDAEDDF}" destId="{8F9D5664-5A4D-4A78-A5EB-F86F725AA541}" srcOrd="5" destOrd="0" presId="urn:microsoft.com/office/officeart/2005/8/layout/vList2"/>
    <dgm:cxn modelId="{80E73A8D-FF9A-4A5A-AE41-8EB8E62D719D}" type="presParOf" srcId="{2CA80026-CA7B-4EEA-BD83-F0600BDAEDDF}" destId="{59B9E0DA-0367-410B-A64C-C9073B4CAC79}" srcOrd="6" destOrd="0" presId="urn:microsoft.com/office/officeart/2005/8/layout/vList2"/>
    <dgm:cxn modelId="{BDD811C4-0BFC-4077-9EB5-598B73DE3D0F}" type="presParOf" srcId="{2CA80026-CA7B-4EEA-BD83-F0600BDAEDDF}" destId="{74F76B33-6831-42BD-8537-3B5B8569B32E}" srcOrd="7" destOrd="0" presId="urn:microsoft.com/office/officeart/2005/8/layout/vList2"/>
    <dgm:cxn modelId="{E50BDDC2-5AF8-4B56-9E44-ADD9B0342762}" type="presParOf" srcId="{2CA80026-CA7B-4EEA-BD83-F0600BDAEDDF}" destId="{09051385-436C-4EDC-BBDD-AF71DCF25480}" srcOrd="8" destOrd="0" presId="urn:microsoft.com/office/officeart/2005/8/layout/vList2"/>
    <dgm:cxn modelId="{18C8A401-40DA-4A25-8C6E-0ED235DD9BDD}" type="presParOf" srcId="{2CA80026-CA7B-4EEA-BD83-F0600BDAEDDF}" destId="{91F52BE6-D090-40D7-BD81-5DBAAB4BDDFD}" srcOrd="9" destOrd="0" presId="urn:microsoft.com/office/officeart/2005/8/layout/vList2"/>
    <dgm:cxn modelId="{E91650E6-172B-4F77-A3E0-D2613A8F1B55}" type="presParOf" srcId="{2CA80026-CA7B-4EEA-BD83-F0600BDAEDDF}" destId="{E85CAB4D-3008-4438-B4B7-66D5CC778B0B}"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ECC96BD-B310-4B5A-BC36-CD8C3DFBD704}" type="doc">
      <dgm:prSet loTypeId="urn:microsoft.com/office/officeart/2005/8/layout/vList2" loCatId="list" qsTypeId="urn:microsoft.com/office/officeart/2005/8/quickstyle/simple4" qsCatId="simple" csTypeId="urn:microsoft.com/office/officeart/2005/8/colors/colorful5" csCatId="colorful" phldr="1"/>
      <dgm:spPr/>
      <dgm:t>
        <a:bodyPr/>
        <a:lstStyle/>
        <a:p>
          <a:endParaRPr lang="en-US"/>
        </a:p>
      </dgm:t>
    </dgm:pt>
    <dgm:pt modelId="{275335EC-51B4-4C93-A04F-BF73252E857A}">
      <dgm:prSet/>
      <dgm:spPr/>
      <dgm:t>
        <a:bodyPr/>
        <a:lstStyle/>
        <a:p>
          <a:r>
            <a:rPr lang="en-US" b="0" i="0" dirty="0">
              <a:solidFill>
                <a:schemeClr val="accent1"/>
              </a:solidFill>
            </a:rPr>
            <a:t>AWHONN Respectful Maternity Care Guideline &amp; Implementation Toolkit</a:t>
          </a:r>
          <a:endParaRPr lang="en-US" dirty="0">
            <a:solidFill>
              <a:schemeClr val="accent1"/>
            </a:solidFill>
          </a:endParaRPr>
        </a:p>
      </dgm:t>
    </dgm:pt>
    <dgm:pt modelId="{B2F52C76-7E17-4ED3-BA09-93D7B7A9E782}" type="parTrans" cxnId="{6C2A400F-F301-4578-8D97-15EB6392D236}">
      <dgm:prSet/>
      <dgm:spPr/>
      <dgm:t>
        <a:bodyPr/>
        <a:lstStyle/>
        <a:p>
          <a:endParaRPr lang="en-US"/>
        </a:p>
      </dgm:t>
    </dgm:pt>
    <dgm:pt modelId="{59363481-8138-4529-98A0-D2DAB9EC9E1A}" type="sibTrans" cxnId="{6C2A400F-F301-4578-8D97-15EB6392D236}">
      <dgm:prSet/>
      <dgm:spPr/>
      <dgm:t>
        <a:bodyPr/>
        <a:lstStyle/>
        <a:p>
          <a:endParaRPr lang="en-US"/>
        </a:p>
      </dgm:t>
    </dgm:pt>
    <dgm:pt modelId="{A44BF51C-D859-435A-A68C-879F05AD720E}">
      <dgm:prSet/>
      <dgm:spPr/>
      <dgm:t>
        <a:bodyPr/>
        <a:lstStyle/>
        <a:p>
          <a:r>
            <a:rPr lang="en-US" b="0" i="0" dirty="0">
              <a:solidFill>
                <a:schemeClr val="accent1"/>
              </a:solidFill>
            </a:rPr>
            <a:t>PQI Speak Up Ambassador Course</a:t>
          </a:r>
          <a:endParaRPr lang="en-US" dirty="0">
            <a:solidFill>
              <a:schemeClr val="accent1"/>
            </a:solidFill>
          </a:endParaRPr>
        </a:p>
      </dgm:t>
    </dgm:pt>
    <dgm:pt modelId="{6A11D865-39A8-4024-AEC3-DB851C667541}" type="parTrans" cxnId="{79E245AD-1335-4623-AB7A-44E4CFDB7135}">
      <dgm:prSet/>
      <dgm:spPr/>
    </dgm:pt>
    <dgm:pt modelId="{299C54BD-1D78-423E-9472-05CCDCB477F7}" type="sibTrans" cxnId="{79E245AD-1335-4623-AB7A-44E4CFDB7135}">
      <dgm:prSet/>
      <dgm:spPr/>
    </dgm:pt>
    <dgm:pt modelId="{CB918371-1DFF-47DA-8E83-6D5CE4BD19DA}">
      <dgm:prSet/>
      <dgm:spPr/>
      <dgm:t>
        <a:bodyPr/>
        <a:lstStyle/>
        <a:p>
          <a:r>
            <a:rPr lang="en-US" b="0" i="0" dirty="0">
              <a:solidFill>
                <a:schemeClr val="accent1"/>
              </a:solidFill>
            </a:rPr>
            <a:t>ACOG Respectful Care </a:t>
          </a:r>
          <a:r>
            <a:rPr lang="en-US" b="0" i="0" dirty="0" err="1">
              <a:solidFill>
                <a:schemeClr val="accent1"/>
              </a:solidFill>
            </a:rPr>
            <a:t>eModules</a:t>
          </a:r>
          <a:endParaRPr lang="en-US" dirty="0">
            <a:solidFill>
              <a:schemeClr val="accent1"/>
            </a:solidFill>
          </a:endParaRPr>
        </a:p>
      </dgm:t>
    </dgm:pt>
    <dgm:pt modelId="{8C880FE5-46C3-4294-8D81-5BFBC9A496F1}" type="parTrans" cxnId="{A624447E-B975-4A4C-8F92-5410913CCA1C}">
      <dgm:prSet/>
      <dgm:spPr/>
    </dgm:pt>
    <dgm:pt modelId="{F1A0E24E-EB5B-47CB-BFB1-396DF8EF89FF}" type="sibTrans" cxnId="{A624447E-B975-4A4C-8F92-5410913CCA1C}">
      <dgm:prSet/>
      <dgm:spPr/>
    </dgm:pt>
    <dgm:pt modelId="{0663F109-39C8-48D7-8C6D-C4A1147FF5F6}">
      <dgm:prSet phldr="0"/>
      <dgm:spPr/>
      <dgm:t>
        <a:bodyPr/>
        <a:lstStyle/>
        <a:p>
          <a:pPr rtl="0"/>
          <a:r>
            <a:rPr lang="en-US" dirty="0">
              <a:solidFill>
                <a:schemeClr val="accent1"/>
              </a:solidFill>
              <a:latin typeface="Calibri" panose="020F0502020204030204"/>
            </a:rPr>
            <a:t>Doula Engagement</a:t>
          </a:r>
          <a:endParaRPr lang="en-US" dirty="0">
            <a:solidFill>
              <a:schemeClr val="accent1"/>
            </a:solidFill>
          </a:endParaRPr>
        </a:p>
      </dgm:t>
    </dgm:pt>
    <dgm:pt modelId="{A65FBEFC-B377-4E58-AF1C-26364E1AE79A}" type="parTrans" cxnId="{D1B875F9-B8A2-4768-8FA3-0E225940719B}">
      <dgm:prSet/>
      <dgm:spPr/>
    </dgm:pt>
    <dgm:pt modelId="{AA71C879-A5FD-4D17-921F-31F3F14D06EB}" type="sibTrans" cxnId="{D1B875F9-B8A2-4768-8FA3-0E225940719B}">
      <dgm:prSet/>
      <dgm:spPr/>
    </dgm:pt>
    <dgm:pt modelId="{2CA80026-CA7B-4EEA-BD83-F0600BDAEDDF}" type="pres">
      <dgm:prSet presAssocID="{5ECC96BD-B310-4B5A-BC36-CD8C3DFBD704}" presName="linear" presStyleCnt="0">
        <dgm:presLayoutVars>
          <dgm:animLvl val="lvl"/>
          <dgm:resizeHandles val="exact"/>
        </dgm:presLayoutVars>
      </dgm:prSet>
      <dgm:spPr/>
    </dgm:pt>
    <dgm:pt modelId="{E04B1CA3-FB07-48BB-92D5-0978EBE75D2B}" type="pres">
      <dgm:prSet presAssocID="{275335EC-51B4-4C93-A04F-BF73252E857A}" presName="parentText" presStyleLbl="node1" presStyleIdx="0" presStyleCnt="4">
        <dgm:presLayoutVars>
          <dgm:chMax val="0"/>
          <dgm:bulletEnabled val="1"/>
        </dgm:presLayoutVars>
      </dgm:prSet>
      <dgm:spPr/>
    </dgm:pt>
    <dgm:pt modelId="{2123C8DC-977F-4544-90C2-9265A6FDC068}" type="pres">
      <dgm:prSet presAssocID="{59363481-8138-4529-98A0-D2DAB9EC9E1A}" presName="spacer" presStyleCnt="0"/>
      <dgm:spPr/>
    </dgm:pt>
    <dgm:pt modelId="{2073D87A-ECBC-4D60-BA0B-C66E2E517A68}" type="pres">
      <dgm:prSet presAssocID="{CB918371-1DFF-47DA-8E83-6D5CE4BD19DA}" presName="parentText" presStyleLbl="node1" presStyleIdx="1" presStyleCnt="4">
        <dgm:presLayoutVars>
          <dgm:chMax val="0"/>
          <dgm:bulletEnabled val="1"/>
        </dgm:presLayoutVars>
      </dgm:prSet>
      <dgm:spPr/>
    </dgm:pt>
    <dgm:pt modelId="{38437822-45A6-4A6D-BCBA-514E9C3663B7}" type="pres">
      <dgm:prSet presAssocID="{F1A0E24E-EB5B-47CB-BFB1-396DF8EF89FF}" presName="spacer" presStyleCnt="0"/>
      <dgm:spPr/>
    </dgm:pt>
    <dgm:pt modelId="{EA32BC01-942F-4AB1-9077-839ADF777702}" type="pres">
      <dgm:prSet presAssocID="{0663F109-39C8-48D7-8C6D-C4A1147FF5F6}" presName="parentText" presStyleLbl="node1" presStyleIdx="2" presStyleCnt="4">
        <dgm:presLayoutVars>
          <dgm:chMax val="0"/>
          <dgm:bulletEnabled val="1"/>
        </dgm:presLayoutVars>
      </dgm:prSet>
      <dgm:spPr/>
    </dgm:pt>
    <dgm:pt modelId="{6436E1CB-BE10-4FA8-BAFC-96D613B62E8F}" type="pres">
      <dgm:prSet presAssocID="{AA71C879-A5FD-4D17-921F-31F3F14D06EB}" presName="spacer" presStyleCnt="0"/>
      <dgm:spPr/>
    </dgm:pt>
    <dgm:pt modelId="{54423526-6B9A-4270-96FF-E6E313E45077}" type="pres">
      <dgm:prSet presAssocID="{A44BF51C-D859-435A-A68C-879F05AD720E}" presName="parentText" presStyleLbl="node1" presStyleIdx="3" presStyleCnt="4">
        <dgm:presLayoutVars>
          <dgm:chMax val="0"/>
          <dgm:bulletEnabled val="1"/>
        </dgm:presLayoutVars>
      </dgm:prSet>
      <dgm:spPr/>
    </dgm:pt>
  </dgm:ptLst>
  <dgm:cxnLst>
    <dgm:cxn modelId="{6C2A400F-F301-4578-8D97-15EB6392D236}" srcId="{5ECC96BD-B310-4B5A-BC36-CD8C3DFBD704}" destId="{275335EC-51B4-4C93-A04F-BF73252E857A}" srcOrd="0" destOrd="0" parTransId="{B2F52C76-7E17-4ED3-BA09-93D7B7A9E782}" sibTransId="{59363481-8138-4529-98A0-D2DAB9EC9E1A}"/>
    <dgm:cxn modelId="{49C72648-CBAA-433A-ADDE-83EF87CC03C4}" type="presOf" srcId="{CB918371-1DFF-47DA-8E83-6D5CE4BD19DA}" destId="{2073D87A-ECBC-4D60-BA0B-C66E2E517A68}" srcOrd="0" destOrd="0" presId="urn:microsoft.com/office/officeart/2005/8/layout/vList2"/>
    <dgm:cxn modelId="{A624447E-B975-4A4C-8F92-5410913CCA1C}" srcId="{5ECC96BD-B310-4B5A-BC36-CD8C3DFBD704}" destId="{CB918371-1DFF-47DA-8E83-6D5CE4BD19DA}" srcOrd="1" destOrd="0" parTransId="{8C880FE5-46C3-4294-8D81-5BFBC9A496F1}" sibTransId="{F1A0E24E-EB5B-47CB-BFB1-396DF8EF89FF}"/>
    <dgm:cxn modelId="{0E10939F-0477-41AC-B377-F5584DD0B4AD}" type="presOf" srcId="{0663F109-39C8-48D7-8C6D-C4A1147FF5F6}" destId="{EA32BC01-942F-4AB1-9077-839ADF777702}" srcOrd="0" destOrd="0" presId="urn:microsoft.com/office/officeart/2005/8/layout/vList2"/>
    <dgm:cxn modelId="{79E245AD-1335-4623-AB7A-44E4CFDB7135}" srcId="{5ECC96BD-B310-4B5A-BC36-CD8C3DFBD704}" destId="{A44BF51C-D859-435A-A68C-879F05AD720E}" srcOrd="3" destOrd="0" parTransId="{6A11D865-39A8-4024-AEC3-DB851C667541}" sibTransId="{299C54BD-1D78-423E-9472-05CCDCB477F7}"/>
    <dgm:cxn modelId="{730C02BC-63E7-4AA6-A86A-51DC231F5BE7}" type="presOf" srcId="{A44BF51C-D859-435A-A68C-879F05AD720E}" destId="{54423526-6B9A-4270-96FF-E6E313E45077}" srcOrd="0" destOrd="0" presId="urn:microsoft.com/office/officeart/2005/8/layout/vList2"/>
    <dgm:cxn modelId="{84C1B2C4-C964-4D25-8CF8-E42BE4066EE0}" type="presOf" srcId="{5ECC96BD-B310-4B5A-BC36-CD8C3DFBD704}" destId="{2CA80026-CA7B-4EEA-BD83-F0600BDAEDDF}" srcOrd="0" destOrd="0" presId="urn:microsoft.com/office/officeart/2005/8/layout/vList2"/>
    <dgm:cxn modelId="{1A0BD9EA-518C-4233-80E4-25B9CADFC031}" type="presOf" srcId="{275335EC-51B4-4C93-A04F-BF73252E857A}" destId="{E04B1CA3-FB07-48BB-92D5-0978EBE75D2B}" srcOrd="0" destOrd="0" presId="urn:microsoft.com/office/officeart/2005/8/layout/vList2"/>
    <dgm:cxn modelId="{D1B875F9-B8A2-4768-8FA3-0E225940719B}" srcId="{5ECC96BD-B310-4B5A-BC36-CD8C3DFBD704}" destId="{0663F109-39C8-48D7-8C6D-C4A1147FF5F6}" srcOrd="2" destOrd="0" parTransId="{A65FBEFC-B377-4E58-AF1C-26364E1AE79A}" sibTransId="{AA71C879-A5FD-4D17-921F-31F3F14D06EB}"/>
    <dgm:cxn modelId="{ED82A89A-1C25-4278-B6C6-031987FDAB53}" type="presParOf" srcId="{2CA80026-CA7B-4EEA-BD83-F0600BDAEDDF}" destId="{E04B1CA3-FB07-48BB-92D5-0978EBE75D2B}" srcOrd="0" destOrd="0" presId="urn:microsoft.com/office/officeart/2005/8/layout/vList2"/>
    <dgm:cxn modelId="{CA456956-23B6-4B51-9DBC-A5C6B09F2F16}" type="presParOf" srcId="{2CA80026-CA7B-4EEA-BD83-F0600BDAEDDF}" destId="{2123C8DC-977F-4544-90C2-9265A6FDC068}" srcOrd="1" destOrd="0" presId="urn:microsoft.com/office/officeart/2005/8/layout/vList2"/>
    <dgm:cxn modelId="{E0701D79-F9E0-4E3D-A76F-7F30E0A153F9}" type="presParOf" srcId="{2CA80026-CA7B-4EEA-BD83-F0600BDAEDDF}" destId="{2073D87A-ECBC-4D60-BA0B-C66E2E517A68}" srcOrd="2" destOrd="0" presId="urn:microsoft.com/office/officeart/2005/8/layout/vList2"/>
    <dgm:cxn modelId="{FA17E16C-F2F1-4793-8136-E5BF6C2CFEE4}" type="presParOf" srcId="{2CA80026-CA7B-4EEA-BD83-F0600BDAEDDF}" destId="{38437822-45A6-4A6D-BCBA-514E9C3663B7}" srcOrd="3" destOrd="0" presId="urn:microsoft.com/office/officeart/2005/8/layout/vList2"/>
    <dgm:cxn modelId="{4791D08D-8015-443A-A40F-0B1D586BC41E}" type="presParOf" srcId="{2CA80026-CA7B-4EEA-BD83-F0600BDAEDDF}" destId="{EA32BC01-942F-4AB1-9077-839ADF777702}" srcOrd="4" destOrd="0" presId="urn:microsoft.com/office/officeart/2005/8/layout/vList2"/>
    <dgm:cxn modelId="{34E8019D-4513-4BCA-83DC-04CACA8E0FDC}" type="presParOf" srcId="{2CA80026-CA7B-4EEA-BD83-F0600BDAEDDF}" destId="{6436E1CB-BE10-4FA8-BAFC-96D613B62E8F}" srcOrd="5" destOrd="0" presId="urn:microsoft.com/office/officeart/2005/8/layout/vList2"/>
    <dgm:cxn modelId="{974DEE0D-2923-4C96-9DF2-C627A65F1EEA}" type="presParOf" srcId="{2CA80026-CA7B-4EEA-BD83-F0600BDAEDDF}" destId="{54423526-6B9A-4270-96FF-E6E313E45077}"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EE30D59-24AC-49CC-B343-9AED3EB0B87B}" type="doc">
      <dgm:prSet loTypeId="urn:microsoft.com/office/officeart/2005/8/layout/hierarchy1" loCatId="hierarchy" qsTypeId="urn:microsoft.com/office/officeart/2005/8/quickstyle/simple1" qsCatId="simple" csTypeId="urn:microsoft.com/office/officeart/2005/8/colors/accent3_2" csCatId="accent3"/>
      <dgm:spPr/>
      <dgm:t>
        <a:bodyPr/>
        <a:lstStyle/>
        <a:p>
          <a:endParaRPr lang="en-US"/>
        </a:p>
      </dgm:t>
    </dgm:pt>
    <dgm:pt modelId="{A19F0034-F4B3-4C42-8818-D66CF7C4F745}">
      <dgm:prSet/>
      <dgm:spPr/>
      <dgm:t>
        <a:bodyPr/>
        <a:lstStyle/>
        <a:p>
          <a:r>
            <a:rPr lang="en-US" b="0" i="0">
              <a:hlinkClick xmlns:r="http://schemas.openxmlformats.org/officeDocument/2006/relationships" r:id="rId1"/>
            </a:rPr>
            <a:t>CMQCC Webinar</a:t>
          </a:r>
          <a:r>
            <a:rPr lang="en-US" b="0" i="0"/>
            <a:t>: Integrating Midwives, Doulas, and Community-Based Birth Care</a:t>
          </a:r>
          <a:endParaRPr lang="en-US"/>
        </a:p>
      </dgm:t>
    </dgm:pt>
    <dgm:pt modelId="{9B3F9E45-45F4-4C45-996E-D59800A907A0}" type="parTrans" cxnId="{E748F519-F982-4CEA-A7CF-1CC34FDEE0B5}">
      <dgm:prSet/>
      <dgm:spPr/>
      <dgm:t>
        <a:bodyPr/>
        <a:lstStyle/>
        <a:p>
          <a:endParaRPr lang="en-US"/>
        </a:p>
      </dgm:t>
    </dgm:pt>
    <dgm:pt modelId="{6BF5B8A8-000B-4FC1-8699-4817257DBF3D}" type="sibTrans" cxnId="{E748F519-F982-4CEA-A7CF-1CC34FDEE0B5}">
      <dgm:prSet/>
      <dgm:spPr/>
      <dgm:t>
        <a:bodyPr/>
        <a:lstStyle/>
        <a:p>
          <a:endParaRPr lang="en-US"/>
        </a:p>
      </dgm:t>
    </dgm:pt>
    <dgm:pt modelId="{5547D628-CBFB-4516-8504-6B18D5145880}">
      <dgm:prSet/>
      <dgm:spPr/>
      <dgm:t>
        <a:bodyPr/>
        <a:lstStyle/>
        <a:p>
          <a:r>
            <a:rPr lang="en-US" b="0" i="0">
              <a:hlinkClick xmlns:r="http://schemas.openxmlformats.org/officeDocument/2006/relationships" r:id="rId2"/>
            </a:rPr>
            <a:t>CMQCC Toolkit</a:t>
          </a:r>
          <a:r>
            <a:rPr lang="en-US" b="0" i="0"/>
            <a:t> to Support Vaginal Birth and Reduce Primary Cesareans </a:t>
          </a:r>
          <a:r>
            <a:rPr lang="en-US" b="1" i="0"/>
            <a:t>Index: PART V. THE NEXT STEP: Integrating Midwives, Doulas, and Community Based Care 80-107</a:t>
          </a:r>
          <a:endParaRPr lang="en-US"/>
        </a:p>
      </dgm:t>
    </dgm:pt>
    <dgm:pt modelId="{EE719C11-5067-4AA0-8857-98C29E57AD43}" type="parTrans" cxnId="{1379A7CF-867D-47C3-AE1F-1D9F23A70E03}">
      <dgm:prSet/>
      <dgm:spPr/>
      <dgm:t>
        <a:bodyPr/>
        <a:lstStyle/>
        <a:p>
          <a:endParaRPr lang="en-US"/>
        </a:p>
      </dgm:t>
    </dgm:pt>
    <dgm:pt modelId="{FCE336A8-AB35-4063-96F8-5750CA477A94}" type="sibTrans" cxnId="{1379A7CF-867D-47C3-AE1F-1D9F23A70E03}">
      <dgm:prSet/>
      <dgm:spPr/>
      <dgm:t>
        <a:bodyPr/>
        <a:lstStyle/>
        <a:p>
          <a:endParaRPr lang="en-US"/>
        </a:p>
      </dgm:t>
    </dgm:pt>
    <dgm:pt modelId="{0A692574-1CE5-489B-A348-C9E6FD091A52}" type="pres">
      <dgm:prSet presAssocID="{CEE30D59-24AC-49CC-B343-9AED3EB0B87B}" presName="hierChild1" presStyleCnt="0">
        <dgm:presLayoutVars>
          <dgm:chPref val="1"/>
          <dgm:dir/>
          <dgm:animOne val="branch"/>
          <dgm:animLvl val="lvl"/>
          <dgm:resizeHandles/>
        </dgm:presLayoutVars>
      </dgm:prSet>
      <dgm:spPr/>
    </dgm:pt>
    <dgm:pt modelId="{14F183AB-E110-4603-8956-A6C990BE6233}" type="pres">
      <dgm:prSet presAssocID="{A19F0034-F4B3-4C42-8818-D66CF7C4F745}" presName="hierRoot1" presStyleCnt="0"/>
      <dgm:spPr/>
    </dgm:pt>
    <dgm:pt modelId="{4D7F5579-3961-46ED-BE54-4BC40B9D44B8}" type="pres">
      <dgm:prSet presAssocID="{A19F0034-F4B3-4C42-8818-D66CF7C4F745}" presName="composite" presStyleCnt="0"/>
      <dgm:spPr/>
    </dgm:pt>
    <dgm:pt modelId="{D6A77BBC-FE9B-4689-901C-91908CC1D7BD}" type="pres">
      <dgm:prSet presAssocID="{A19F0034-F4B3-4C42-8818-D66CF7C4F745}" presName="background" presStyleLbl="node0" presStyleIdx="0" presStyleCnt="2"/>
      <dgm:spPr/>
    </dgm:pt>
    <dgm:pt modelId="{191DB9ED-3888-400A-A8E3-0671CD1236BB}" type="pres">
      <dgm:prSet presAssocID="{A19F0034-F4B3-4C42-8818-D66CF7C4F745}" presName="text" presStyleLbl="fgAcc0" presStyleIdx="0" presStyleCnt="2">
        <dgm:presLayoutVars>
          <dgm:chPref val="3"/>
        </dgm:presLayoutVars>
      </dgm:prSet>
      <dgm:spPr/>
    </dgm:pt>
    <dgm:pt modelId="{5E231074-E19F-4EC9-81A2-562592E034A8}" type="pres">
      <dgm:prSet presAssocID="{A19F0034-F4B3-4C42-8818-D66CF7C4F745}" presName="hierChild2" presStyleCnt="0"/>
      <dgm:spPr/>
    </dgm:pt>
    <dgm:pt modelId="{993CAFC5-5457-4289-AD9E-BD52DC0A3239}" type="pres">
      <dgm:prSet presAssocID="{5547D628-CBFB-4516-8504-6B18D5145880}" presName="hierRoot1" presStyleCnt="0"/>
      <dgm:spPr/>
    </dgm:pt>
    <dgm:pt modelId="{D4C5D987-B01C-4EA1-B6F9-263CAA7C8D23}" type="pres">
      <dgm:prSet presAssocID="{5547D628-CBFB-4516-8504-6B18D5145880}" presName="composite" presStyleCnt="0"/>
      <dgm:spPr/>
    </dgm:pt>
    <dgm:pt modelId="{6EA8DD05-05A6-46D3-925C-643AE26A4685}" type="pres">
      <dgm:prSet presAssocID="{5547D628-CBFB-4516-8504-6B18D5145880}" presName="background" presStyleLbl="node0" presStyleIdx="1" presStyleCnt="2"/>
      <dgm:spPr/>
    </dgm:pt>
    <dgm:pt modelId="{E09BBACC-48C4-47F7-8DF3-959242CA7BDA}" type="pres">
      <dgm:prSet presAssocID="{5547D628-CBFB-4516-8504-6B18D5145880}" presName="text" presStyleLbl="fgAcc0" presStyleIdx="1" presStyleCnt="2">
        <dgm:presLayoutVars>
          <dgm:chPref val="3"/>
        </dgm:presLayoutVars>
      </dgm:prSet>
      <dgm:spPr/>
    </dgm:pt>
    <dgm:pt modelId="{10A37B67-952C-4F9A-AD3A-1E2E51976B15}" type="pres">
      <dgm:prSet presAssocID="{5547D628-CBFB-4516-8504-6B18D5145880}" presName="hierChild2" presStyleCnt="0"/>
      <dgm:spPr/>
    </dgm:pt>
  </dgm:ptLst>
  <dgm:cxnLst>
    <dgm:cxn modelId="{E748F519-F982-4CEA-A7CF-1CC34FDEE0B5}" srcId="{CEE30D59-24AC-49CC-B343-9AED3EB0B87B}" destId="{A19F0034-F4B3-4C42-8818-D66CF7C4F745}" srcOrd="0" destOrd="0" parTransId="{9B3F9E45-45F4-4C45-996E-D59800A907A0}" sibTransId="{6BF5B8A8-000B-4FC1-8699-4817257DBF3D}"/>
    <dgm:cxn modelId="{97BAA552-A81E-4E7A-AA7F-F058DC7E20A7}" type="presOf" srcId="{5547D628-CBFB-4516-8504-6B18D5145880}" destId="{E09BBACC-48C4-47F7-8DF3-959242CA7BDA}" srcOrd="0" destOrd="0" presId="urn:microsoft.com/office/officeart/2005/8/layout/hierarchy1"/>
    <dgm:cxn modelId="{151B9EA5-E51A-4597-9E4C-FD56361964E5}" type="presOf" srcId="{A19F0034-F4B3-4C42-8818-D66CF7C4F745}" destId="{191DB9ED-3888-400A-A8E3-0671CD1236BB}" srcOrd="0" destOrd="0" presId="urn:microsoft.com/office/officeart/2005/8/layout/hierarchy1"/>
    <dgm:cxn modelId="{1379A7CF-867D-47C3-AE1F-1D9F23A70E03}" srcId="{CEE30D59-24AC-49CC-B343-9AED3EB0B87B}" destId="{5547D628-CBFB-4516-8504-6B18D5145880}" srcOrd="1" destOrd="0" parTransId="{EE719C11-5067-4AA0-8857-98C29E57AD43}" sibTransId="{FCE336A8-AB35-4063-96F8-5750CA477A94}"/>
    <dgm:cxn modelId="{A8770BF5-F457-4DB8-98B9-E3569F3AC8D5}" type="presOf" srcId="{CEE30D59-24AC-49CC-B343-9AED3EB0B87B}" destId="{0A692574-1CE5-489B-A348-C9E6FD091A52}" srcOrd="0" destOrd="0" presId="urn:microsoft.com/office/officeart/2005/8/layout/hierarchy1"/>
    <dgm:cxn modelId="{2CF30C2B-8AAF-4FA3-9E26-DECC496E311D}" type="presParOf" srcId="{0A692574-1CE5-489B-A348-C9E6FD091A52}" destId="{14F183AB-E110-4603-8956-A6C990BE6233}" srcOrd="0" destOrd="0" presId="urn:microsoft.com/office/officeart/2005/8/layout/hierarchy1"/>
    <dgm:cxn modelId="{0828F407-F241-4AAD-BB9C-F83B128023C2}" type="presParOf" srcId="{14F183AB-E110-4603-8956-A6C990BE6233}" destId="{4D7F5579-3961-46ED-BE54-4BC40B9D44B8}" srcOrd="0" destOrd="0" presId="urn:microsoft.com/office/officeart/2005/8/layout/hierarchy1"/>
    <dgm:cxn modelId="{CF7F2496-0AF4-4994-871A-2AA4B52F3C2C}" type="presParOf" srcId="{4D7F5579-3961-46ED-BE54-4BC40B9D44B8}" destId="{D6A77BBC-FE9B-4689-901C-91908CC1D7BD}" srcOrd="0" destOrd="0" presId="urn:microsoft.com/office/officeart/2005/8/layout/hierarchy1"/>
    <dgm:cxn modelId="{D1AEA5C5-6B3A-4711-9290-7A5677BB134E}" type="presParOf" srcId="{4D7F5579-3961-46ED-BE54-4BC40B9D44B8}" destId="{191DB9ED-3888-400A-A8E3-0671CD1236BB}" srcOrd="1" destOrd="0" presId="urn:microsoft.com/office/officeart/2005/8/layout/hierarchy1"/>
    <dgm:cxn modelId="{3C33D584-61C5-4DC1-810F-5AF8966AFB46}" type="presParOf" srcId="{14F183AB-E110-4603-8956-A6C990BE6233}" destId="{5E231074-E19F-4EC9-81A2-562592E034A8}" srcOrd="1" destOrd="0" presId="urn:microsoft.com/office/officeart/2005/8/layout/hierarchy1"/>
    <dgm:cxn modelId="{C8FADF16-97BB-4E6C-B44B-6493ED575E32}" type="presParOf" srcId="{0A692574-1CE5-489B-A348-C9E6FD091A52}" destId="{993CAFC5-5457-4289-AD9E-BD52DC0A3239}" srcOrd="1" destOrd="0" presId="urn:microsoft.com/office/officeart/2005/8/layout/hierarchy1"/>
    <dgm:cxn modelId="{838BBF73-E00F-4993-9931-22B41E649642}" type="presParOf" srcId="{993CAFC5-5457-4289-AD9E-BD52DC0A3239}" destId="{D4C5D987-B01C-4EA1-B6F9-263CAA7C8D23}" srcOrd="0" destOrd="0" presId="urn:microsoft.com/office/officeart/2005/8/layout/hierarchy1"/>
    <dgm:cxn modelId="{6455E3E2-EDB8-4C77-836F-35A67D834A7E}" type="presParOf" srcId="{D4C5D987-B01C-4EA1-B6F9-263CAA7C8D23}" destId="{6EA8DD05-05A6-46D3-925C-643AE26A4685}" srcOrd="0" destOrd="0" presId="urn:microsoft.com/office/officeart/2005/8/layout/hierarchy1"/>
    <dgm:cxn modelId="{CCBFF6D3-1926-46D2-A313-954666B7DF57}" type="presParOf" srcId="{D4C5D987-B01C-4EA1-B6F9-263CAA7C8D23}" destId="{E09BBACC-48C4-47F7-8DF3-959242CA7BDA}" srcOrd="1" destOrd="0" presId="urn:microsoft.com/office/officeart/2005/8/layout/hierarchy1"/>
    <dgm:cxn modelId="{A32CE7F2-7348-4A1B-A887-265E287AC156}" type="presParOf" srcId="{993CAFC5-5457-4289-AD9E-BD52DC0A3239}" destId="{10A37B67-952C-4F9A-AD3A-1E2E51976B15}"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043B88-532F-455D-A1DD-A6D4D6CD727C}">
      <dsp:nvSpPr>
        <dsp:cNvPr id="0" name=""/>
        <dsp:cNvSpPr/>
      </dsp:nvSpPr>
      <dsp:spPr>
        <a:xfrm>
          <a:off x="0" y="99004"/>
          <a:ext cx="6666833" cy="52767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solidFill>
                <a:schemeClr val="accent1"/>
              </a:solidFill>
            </a:rPr>
            <a:t>ILPQC Updates</a:t>
          </a:r>
          <a:endParaRPr lang="en-US" sz="2200" kern="1200" dirty="0">
            <a:solidFill>
              <a:schemeClr val="accent1"/>
            </a:solidFill>
          </a:endParaRPr>
        </a:p>
      </dsp:txBody>
      <dsp:txXfrm>
        <a:off x="25759" y="124763"/>
        <a:ext cx="6615315" cy="476152"/>
      </dsp:txXfrm>
    </dsp:sp>
    <dsp:sp modelId="{CF8A7B59-2420-48FA-A336-38390FC91955}">
      <dsp:nvSpPr>
        <dsp:cNvPr id="0" name=""/>
        <dsp:cNvSpPr/>
      </dsp:nvSpPr>
      <dsp:spPr>
        <a:xfrm>
          <a:off x="0" y="690034"/>
          <a:ext cx="6666833" cy="527670"/>
        </a:xfrm>
        <a:prstGeom prst="roundRect">
          <a:avLst/>
        </a:prstGeom>
        <a:gradFill rotWithShape="0">
          <a:gsLst>
            <a:gs pos="0">
              <a:schemeClr val="accent5">
                <a:hueOff val="-1141605"/>
                <a:satOff val="-6512"/>
                <a:lumOff val="-2647"/>
                <a:alphaOff val="0"/>
                <a:satMod val="103000"/>
                <a:lumMod val="102000"/>
                <a:tint val="94000"/>
              </a:schemeClr>
            </a:gs>
            <a:gs pos="50000">
              <a:schemeClr val="accent5">
                <a:hueOff val="-1141605"/>
                <a:satOff val="-6512"/>
                <a:lumOff val="-2647"/>
                <a:alphaOff val="0"/>
                <a:satMod val="110000"/>
                <a:lumMod val="100000"/>
                <a:shade val="100000"/>
              </a:schemeClr>
            </a:gs>
            <a:gs pos="100000">
              <a:schemeClr val="accent5">
                <a:hueOff val="-1141605"/>
                <a:satOff val="-6512"/>
                <a:lumOff val="-264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solidFill>
                <a:schemeClr val="accent1"/>
              </a:solidFill>
            </a:rPr>
            <a:t>BE Data Review</a:t>
          </a:r>
          <a:endParaRPr lang="en-US" sz="2200" kern="1200" dirty="0">
            <a:solidFill>
              <a:schemeClr val="accent1"/>
            </a:solidFill>
          </a:endParaRPr>
        </a:p>
      </dsp:txBody>
      <dsp:txXfrm>
        <a:off x="25759" y="715793"/>
        <a:ext cx="6615315" cy="476152"/>
      </dsp:txXfrm>
    </dsp:sp>
    <dsp:sp modelId="{CB539469-627B-4D8B-8E95-1F6471FD1F8F}">
      <dsp:nvSpPr>
        <dsp:cNvPr id="0" name=""/>
        <dsp:cNvSpPr/>
      </dsp:nvSpPr>
      <dsp:spPr>
        <a:xfrm>
          <a:off x="0" y="1281064"/>
          <a:ext cx="6666833" cy="527670"/>
        </a:xfrm>
        <a:prstGeom prst="roundRect">
          <a:avLst/>
        </a:prstGeom>
        <a:gradFill rotWithShape="0">
          <a:gsLst>
            <a:gs pos="0">
              <a:schemeClr val="accent5">
                <a:hueOff val="-2283209"/>
                <a:satOff val="-13024"/>
                <a:lumOff val="-5294"/>
                <a:alphaOff val="0"/>
                <a:satMod val="103000"/>
                <a:lumMod val="102000"/>
                <a:tint val="94000"/>
              </a:schemeClr>
            </a:gs>
            <a:gs pos="50000">
              <a:schemeClr val="accent5">
                <a:hueOff val="-2283209"/>
                <a:satOff val="-13024"/>
                <a:lumOff val="-5294"/>
                <a:alphaOff val="0"/>
                <a:satMod val="110000"/>
                <a:lumMod val="100000"/>
                <a:shade val="100000"/>
              </a:schemeClr>
            </a:gs>
            <a:gs pos="100000">
              <a:schemeClr val="accent5">
                <a:hueOff val="-2283209"/>
                <a:satOff val="-13024"/>
                <a:lumOff val="-529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solidFill>
                <a:schemeClr val="accent1"/>
              </a:solidFill>
            </a:rPr>
            <a:t>Respectful Care Breakfast Strategy Check-In</a:t>
          </a:r>
          <a:endParaRPr lang="en-US" sz="2200" kern="1200" dirty="0">
            <a:solidFill>
              <a:schemeClr val="accent1"/>
            </a:solidFill>
          </a:endParaRPr>
        </a:p>
      </dsp:txBody>
      <dsp:txXfrm>
        <a:off x="25759" y="1306823"/>
        <a:ext cx="6615315" cy="476152"/>
      </dsp:txXfrm>
    </dsp:sp>
    <dsp:sp modelId="{0BA5D6AA-02E3-4BA4-8262-9C07D795F35C}">
      <dsp:nvSpPr>
        <dsp:cNvPr id="0" name=""/>
        <dsp:cNvSpPr/>
      </dsp:nvSpPr>
      <dsp:spPr>
        <a:xfrm>
          <a:off x="0" y="1872094"/>
          <a:ext cx="6666833" cy="527670"/>
        </a:xfrm>
        <a:prstGeom prst="roundRect">
          <a:avLst/>
        </a:prstGeom>
        <a:gradFill rotWithShape="0">
          <a:gsLst>
            <a:gs pos="0">
              <a:schemeClr val="accent5">
                <a:hueOff val="-3424814"/>
                <a:satOff val="-19536"/>
                <a:lumOff val="-7941"/>
                <a:alphaOff val="0"/>
                <a:satMod val="103000"/>
                <a:lumMod val="102000"/>
                <a:tint val="94000"/>
              </a:schemeClr>
            </a:gs>
            <a:gs pos="50000">
              <a:schemeClr val="accent5">
                <a:hueOff val="-3424814"/>
                <a:satOff val="-19536"/>
                <a:lumOff val="-7941"/>
                <a:alphaOff val="0"/>
                <a:satMod val="110000"/>
                <a:lumMod val="100000"/>
                <a:shade val="100000"/>
              </a:schemeClr>
            </a:gs>
            <a:gs pos="100000">
              <a:schemeClr val="accent5">
                <a:hueOff val="-3424814"/>
                <a:satOff val="-19536"/>
                <a:lumOff val="-794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solidFill>
                <a:schemeClr val="accent1"/>
              </a:solidFill>
            </a:rPr>
            <a:t>Respectful Care Practices and PREM </a:t>
          </a:r>
          <a:endParaRPr lang="en-US" sz="2200" kern="1200" dirty="0">
            <a:solidFill>
              <a:schemeClr val="accent1"/>
            </a:solidFill>
          </a:endParaRPr>
        </a:p>
      </dsp:txBody>
      <dsp:txXfrm>
        <a:off x="25759" y="1897853"/>
        <a:ext cx="6615315" cy="476152"/>
      </dsp:txXfrm>
    </dsp:sp>
    <dsp:sp modelId="{61C8DC91-B133-4AB9-A044-FB31F2C8C1F1}">
      <dsp:nvSpPr>
        <dsp:cNvPr id="0" name=""/>
        <dsp:cNvSpPr/>
      </dsp:nvSpPr>
      <dsp:spPr>
        <a:xfrm>
          <a:off x="0" y="2463125"/>
          <a:ext cx="6666833" cy="527670"/>
        </a:xfrm>
        <a:prstGeom prst="roundRect">
          <a:avLst/>
        </a:prstGeom>
        <a:gradFill rotWithShape="0">
          <a:gsLst>
            <a:gs pos="0">
              <a:schemeClr val="accent5">
                <a:hueOff val="-4566418"/>
                <a:satOff val="-26048"/>
                <a:lumOff val="-10588"/>
                <a:alphaOff val="0"/>
                <a:satMod val="103000"/>
                <a:lumMod val="102000"/>
                <a:tint val="94000"/>
              </a:schemeClr>
            </a:gs>
            <a:gs pos="50000">
              <a:schemeClr val="accent5">
                <a:hueOff val="-4566418"/>
                <a:satOff val="-26048"/>
                <a:lumOff val="-10588"/>
                <a:alphaOff val="0"/>
                <a:satMod val="110000"/>
                <a:lumMod val="100000"/>
                <a:shade val="100000"/>
              </a:schemeClr>
            </a:gs>
            <a:gs pos="100000">
              <a:schemeClr val="accent5">
                <a:hueOff val="-4566418"/>
                <a:satOff val="-26048"/>
                <a:lumOff val="-10588"/>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b="0" i="0" kern="1200">
              <a:solidFill>
                <a:schemeClr val="accent1"/>
              </a:solidFill>
              <a:latin typeface="Calibri" panose="020F0502020204030204"/>
            </a:rPr>
            <a:t>Resources to Improve Respectful Care</a:t>
          </a:r>
          <a:endParaRPr lang="en-US" sz="2200" kern="1200" dirty="0">
            <a:solidFill>
              <a:schemeClr val="accent1"/>
            </a:solidFill>
          </a:endParaRPr>
        </a:p>
      </dsp:txBody>
      <dsp:txXfrm>
        <a:off x="25759" y="2488884"/>
        <a:ext cx="6615315" cy="476152"/>
      </dsp:txXfrm>
    </dsp:sp>
    <dsp:sp modelId="{507C2C84-A3BE-47C2-A886-92D5E4B61FBC}">
      <dsp:nvSpPr>
        <dsp:cNvPr id="0" name=""/>
        <dsp:cNvSpPr/>
      </dsp:nvSpPr>
      <dsp:spPr>
        <a:xfrm>
          <a:off x="0" y="3054155"/>
          <a:ext cx="6666833" cy="527670"/>
        </a:xfrm>
        <a:prstGeom prst="roundRect">
          <a:avLst/>
        </a:prstGeom>
        <a:gradFill rotWithShape="0">
          <a:gsLst>
            <a:gs pos="0">
              <a:schemeClr val="accent5">
                <a:hueOff val="-5708023"/>
                <a:satOff val="-32559"/>
                <a:lumOff val="-13235"/>
                <a:alphaOff val="0"/>
                <a:satMod val="103000"/>
                <a:lumMod val="102000"/>
                <a:tint val="94000"/>
              </a:schemeClr>
            </a:gs>
            <a:gs pos="50000">
              <a:schemeClr val="accent5">
                <a:hueOff val="-5708023"/>
                <a:satOff val="-32559"/>
                <a:lumOff val="-13235"/>
                <a:alphaOff val="0"/>
                <a:satMod val="110000"/>
                <a:lumMod val="100000"/>
                <a:shade val="100000"/>
              </a:schemeClr>
            </a:gs>
            <a:gs pos="100000">
              <a:schemeClr val="accent5">
                <a:hueOff val="-5708023"/>
                <a:satOff val="-32559"/>
                <a:lumOff val="-1323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solidFill>
                <a:schemeClr val="accent1"/>
              </a:solidFill>
            </a:rPr>
            <a:t>How-To: Review PREM Survey Reports in </a:t>
          </a:r>
          <a:r>
            <a:rPr lang="en-US" sz="2200" b="0" i="0" kern="1200" dirty="0" err="1">
              <a:solidFill>
                <a:schemeClr val="accent1"/>
              </a:solidFill>
            </a:rPr>
            <a:t>REDCap</a:t>
          </a:r>
          <a:endParaRPr lang="en-US" sz="2200" kern="1200" dirty="0">
            <a:solidFill>
              <a:schemeClr val="accent1"/>
            </a:solidFill>
          </a:endParaRPr>
        </a:p>
      </dsp:txBody>
      <dsp:txXfrm>
        <a:off x="25759" y="3079914"/>
        <a:ext cx="6615315" cy="476152"/>
      </dsp:txXfrm>
    </dsp:sp>
    <dsp:sp modelId="{66B3503B-8DC6-470F-9D87-47C5EA0B601B}">
      <dsp:nvSpPr>
        <dsp:cNvPr id="0" name=""/>
        <dsp:cNvSpPr/>
      </dsp:nvSpPr>
      <dsp:spPr>
        <a:xfrm>
          <a:off x="0" y="3645185"/>
          <a:ext cx="6666833" cy="527670"/>
        </a:xfrm>
        <a:prstGeom prst="roundRect">
          <a:avLst/>
        </a:prstGeom>
        <a:gradFill rotWithShape="0">
          <a:gsLst>
            <a:gs pos="0">
              <a:schemeClr val="accent5">
                <a:hueOff val="-6849628"/>
                <a:satOff val="-39071"/>
                <a:lumOff val="-15882"/>
                <a:alphaOff val="0"/>
                <a:satMod val="103000"/>
                <a:lumMod val="102000"/>
                <a:tint val="94000"/>
              </a:schemeClr>
            </a:gs>
            <a:gs pos="50000">
              <a:schemeClr val="accent5">
                <a:hueOff val="-6849628"/>
                <a:satOff val="-39071"/>
                <a:lumOff val="-15882"/>
                <a:alphaOff val="0"/>
                <a:satMod val="110000"/>
                <a:lumMod val="100000"/>
                <a:shade val="100000"/>
              </a:schemeClr>
            </a:gs>
            <a:gs pos="100000">
              <a:schemeClr val="accent5">
                <a:hueOff val="-6849628"/>
                <a:satOff val="-39071"/>
                <a:lumOff val="-1588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solidFill>
                <a:schemeClr val="accent1"/>
              </a:solidFill>
            </a:rPr>
            <a:t>Team Talk: Swedish American Hospital</a:t>
          </a:r>
          <a:endParaRPr lang="en-US" sz="2200" kern="1200" dirty="0">
            <a:solidFill>
              <a:schemeClr val="accent1"/>
            </a:solidFill>
          </a:endParaRPr>
        </a:p>
      </dsp:txBody>
      <dsp:txXfrm>
        <a:off x="25759" y="3670944"/>
        <a:ext cx="6615315" cy="476152"/>
      </dsp:txXfrm>
    </dsp:sp>
    <dsp:sp modelId="{8221AC8E-F8D3-4AA2-8CFE-7CF52D6DA976}">
      <dsp:nvSpPr>
        <dsp:cNvPr id="0" name=""/>
        <dsp:cNvSpPr/>
      </dsp:nvSpPr>
      <dsp:spPr>
        <a:xfrm>
          <a:off x="0" y="4236215"/>
          <a:ext cx="6666833" cy="527670"/>
        </a:xfrm>
        <a:prstGeom prst="roundRect">
          <a:avLst/>
        </a:prstGeom>
        <a:gradFill rotWithShape="0">
          <a:gsLst>
            <a:gs pos="0">
              <a:schemeClr val="accent5">
                <a:hueOff val="-7991232"/>
                <a:satOff val="-45583"/>
                <a:lumOff val="-18529"/>
                <a:alphaOff val="0"/>
                <a:satMod val="103000"/>
                <a:lumMod val="102000"/>
                <a:tint val="94000"/>
              </a:schemeClr>
            </a:gs>
            <a:gs pos="50000">
              <a:schemeClr val="accent5">
                <a:hueOff val="-7991232"/>
                <a:satOff val="-45583"/>
                <a:lumOff val="-18529"/>
                <a:alphaOff val="0"/>
                <a:satMod val="110000"/>
                <a:lumMod val="100000"/>
                <a:shade val="100000"/>
              </a:schemeClr>
            </a:gs>
            <a:gs pos="100000">
              <a:schemeClr val="accent5">
                <a:hueOff val="-7991232"/>
                <a:satOff val="-45583"/>
                <a:lumOff val="-1852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solidFill>
                <a:schemeClr val="accent1"/>
              </a:solidFill>
            </a:rPr>
            <a:t>Team Talk: Advocate Illinois Masonic Medical Center</a:t>
          </a:r>
          <a:endParaRPr lang="en-US" sz="2200" kern="1200" dirty="0">
            <a:solidFill>
              <a:schemeClr val="accent1"/>
            </a:solidFill>
          </a:endParaRPr>
        </a:p>
      </dsp:txBody>
      <dsp:txXfrm>
        <a:off x="25759" y="4261974"/>
        <a:ext cx="6615315" cy="476152"/>
      </dsp:txXfrm>
    </dsp:sp>
    <dsp:sp modelId="{1643AD65-70DC-4CDF-BC64-E36EFE81F523}">
      <dsp:nvSpPr>
        <dsp:cNvPr id="0" name=""/>
        <dsp:cNvSpPr/>
      </dsp:nvSpPr>
      <dsp:spPr>
        <a:xfrm>
          <a:off x="0" y="4827245"/>
          <a:ext cx="6666833" cy="527670"/>
        </a:xfrm>
        <a:prstGeom prst="roundRect">
          <a:avLst/>
        </a:prstGeom>
        <a:gradFill rotWithShape="0">
          <a:gsLst>
            <a:gs pos="0">
              <a:schemeClr val="accent5">
                <a:hueOff val="-9132837"/>
                <a:satOff val="-52095"/>
                <a:lumOff val="-21176"/>
                <a:alphaOff val="0"/>
                <a:satMod val="103000"/>
                <a:lumMod val="102000"/>
                <a:tint val="94000"/>
              </a:schemeClr>
            </a:gs>
            <a:gs pos="50000">
              <a:schemeClr val="accent5">
                <a:hueOff val="-9132837"/>
                <a:satOff val="-52095"/>
                <a:lumOff val="-21176"/>
                <a:alphaOff val="0"/>
                <a:satMod val="110000"/>
                <a:lumMod val="100000"/>
                <a:shade val="100000"/>
              </a:schemeClr>
            </a:gs>
            <a:gs pos="100000">
              <a:schemeClr val="accent5">
                <a:hueOff val="-9132837"/>
                <a:satOff val="-52095"/>
                <a:lumOff val="-2117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l" defTabSz="977900">
            <a:lnSpc>
              <a:spcPct val="90000"/>
            </a:lnSpc>
            <a:spcBef>
              <a:spcPct val="0"/>
            </a:spcBef>
            <a:spcAft>
              <a:spcPct val="35000"/>
            </a:spcAft>
            <a:buNone/>
          </a:pPr>
          <a:r>
            <a:rPr lang="en-US" sz="2200" b="0" i="0" kern="1200" dirty="0">
              <a:solidFill>
                <a:schemeClr val="accent1"/>
              </a:solidFill>
            </a:rPr>
            <a:t>Educational Opportunities &amp; Resources</a:t>
          </a:r>
          <a:endParaRPr lang="en-US" sz="2200" kern="1200" dirty="0">
            <a:solidFill>
              <a:schemeClr val="accent1"/>
            </a:solidFill>
          </a:endParaRPr>
        </a:p>
      </dsp:txBody>
      <dsp:txXfrm>
        <a:off x="25759" y="4853004"/>
        <a:ext cx="6615315" cy="47615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238901-8A1E-4352-9FFF-8A877EEC511E}">
      <dsp:nvSpPr>
        <dsp:cNvPr id="0" name=""/>
        <dsp:cNvSpPr/>
      </dsp:nvSpPr>
      <dsp:spPr>
        <a:xfrm>
          <a:off x="491034" y="630687"/>
          <a:ext cx="1269562" cy="1269562"/>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3759627-2B81-4D1D-96B5-12383CA4CA2A}">
      <dsp:nvSpPr>
        <dsp:cNvPr id="0" name=""/>
        <dsp:cNvSpPr/>
      </dsp:nvSpPr>
      <dsp:spPr>
        <a:xfrm>
          <a:off x="761596" y="901250"/>
          <a:ext cx="728437" cy="72843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76AD025-BF91-451D-8DFB-CFA31C8ED67C}">
      <dsp:nvSpPr>
        <dsp:cNvPr id="0" name=""/>
        <dsp:cNvSpPr/>
      </dsp:nvSpPr>
      <dsp:spPr>
        <a:xfrm>
          <a:off x="85190" y="2295687"/>
          <a:ext cx="2081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defRPr cap="all"/>
          </a:pPr>
          <a:r>
            <a:rPr lang="en-US" sz="2200" kern="1200"/>
            <a:t>continuation phase of survey</a:t>
          </a:r>
        </a:p>
      </dsp:txBody>
      <dsp:txXfrm>
        <a:off x="85190" y="2295687"/>
        <a:ext cx="2081250" cy="720000"/>
      </dsp:txXfrm>
    </dsp:sp>
    <dsp:sp modelId="{CFE6CA9A-B0ED-4FD3-9D53-D3123BB962D1}">
      <dsp:nvSpPr>
        <dsp:cNvPr id="0" name=""/>
        <dsp:cNvSpPr/>
      </dsp:nvSpPr>
      <dsp:spPr>
        <a:xfrm>
          <a:off x="2936503" y="630687"/>
          <a:ext cx="1269562" cy="1269562"/>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F598D63-B9DF-477D-A081-0660F52C130F}">
      <dsp:nvSpPr>
        <dsp:cNvPr id="0" name=""/>
        <dsp:cNvSpPr/>
      </dsp:nvSpPr>
      <dsp:spPr>
        <a:xfrm>
          <a:off x="3207065" y="901250"/>
          <a:ext cx="728437" cy="72843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E1921AF-2687-4C08-877B-FA5D0C9FB2B8}">
      <dsp:nvSpPr>
        <dsp:cNvPr id="0" name=""/>
        <dsp:cNvSpPr/>
      </dsp:nvSpPr>
      <dsp:spPr>
        <a:xfrm>
          <a:off x="2530659" y="2295687"/>
          <a:ext cx="2081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defRPr cap="all"/>
          </a:pPr>
          <a:r>
            <a:rPr lang="en-US" sz="2200" kern="1200"/>
            <a:t>Maintain buy in</a:t>
          </a:r>
        </a:p>
      </dsp:txBody>
      <dsp:txXfrm>
        <a:off x="2530659" y="2295687"/>
        <a:ext cx="2081250" cy="720000"/>
      </dsp:txXfrm>
    </dsp:sp>
    <dsp:sp modelId="{2BFA9BAA-793D-43AD-9BD3-4C0DD6A61115}">
      <dsp:nvSpPr>
        <dsp:cNvPr id="0" name=""/>
        <dsp:cNvSpPr/>
      </dsp:nvSpPr>
      <dsp:spPr>
        <a:xfrm>
          <a:off x="5381972" y="630687"/>
          <a:ext cx="1269562" cy="1269562"/>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C417DE6-3988-4721-B526-A7FA9518EADE}">
      <dsp:nvSpPr>
        <dsp:cNvPr id="0" name=""/>
        <dsp:cNvSpPr/>
      </dsp:nvSpPr>
      <dsp:spPr>
        <a:xfrm>
          <a:off x="5652534" y="901250"/>
          <a:ext cx="728437" cy="72843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81214F9-F4B2-4AC3-827F-391C0CD97793}">
      <dsp:nvSpPr>
        <dsp:cNvPr id="0" name=""/>
        <dsp:cNvSpPr/>
      </dsp:nvSpPr>
      <dsp:spPr>
        <a:xfrm>
          <a:off x="4976128" y="2295687"/>
          <a:ext cx="208125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defRPr cap="all"/>
          </a:pPr>
          <a:r>
            <a:rPr lang="en-US" sz="2200" kern="1200"/>
            <a:t>Share results with staff</a:t>
          </a:r>
        </a:p>
      </dsp:txBody>
      <dsp:txXfrm>
        <a:off x="4976128" y="2295687"/>
        <a:ext cx="2081250" cy="72000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DE66CF-12B3-4E06-A70C-E249D1D083DD}">
      <dsp:nvSpPr>
        <dsp:cNvPr id="0" name=""/>
        <dsp:cNvSpPr/>
      </dsp:nvSpPr>
      <dsp:spPr>
        <a:xfrm>
          <a:off x="0" y="180905"/>
          <a:ext cx="6666833" cy="1153620"/>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As of March 2023, emergency allotments ended in all states.</a:t>
          </a:r>
        </a:p>
      </dsp:txBody>
      <dsp:txXfrm>
        <a:off x="56315" y="237220"/>
        <a:ext cx="6554203" cy="1040990"/>
      </dsp:txXfrm>
    </dsp:sp>
    <dsp:sp modelId="{32D25E5F-7474-470D-92E9-CAA644527348}">
      <dsp:nvSpPr>
        <dsp:cNvPr id="0" name=""/>
        <dsp:cNvSpPr/>
      </dsp:nvSpPr>
      <dsp:spPr>
        <a:xfrm>
          <a:off x="0" y="1418045"/>
          <a:ext cx="6666833" cy="1153620"/>
        </a:xfrm>
        <a:prstGeom prst="roundRect">
          <a:avLst/>
        </a:prstGeom>
        <a:gradFill rotWithShape="0">
          <a:gsLst>
            <a:gs pos="0">
              <a:schemeClr val="accent2">
                <a:hueOff val="-19837744"/>
                <a:satOff val="0"/>
                <a:lumOff val="0"/>
                <a:alphaOff val="0"/>
                <a:satMod val="103000"/>
                <a:lumMod val="102000"/>
                <a:tint val="94000"/>
              </a:schemeClr>
            </a:gs>
            <a:gs pos="50000">
              <a:schemeClr val="accent2">
                <a:hueOff val="-19837744"/>
                <a:satOff val="0"/>
                <a:lumOff val="0"/>
                <a:alphaOff val="0"/>
                <a:satMod val="110000"/>
                <a:lumMod val="100000"/>
                <a:shade val="100000"/>
              </a:schemeClr>
            </a:gs>
            <a:gs pos="100000">
              <a:schemeClr val="accent2">
                <a:hueOff val="-19837744"/>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dirty="0"/>
            <a:t>Check out these resources for more information &amp; share with hospital teams:</a:t>
          </a:r>
        </a:p>
      </dsp:txBody>
      <dsp:txXfrm>
        <a:off x="56315" y="1474360"/>
        <a:ext cx="6554203" cy="1040990"/>
      </dsp:txXfrm>
    </dsp:sp>
    <dsp:sp modelId="{8978D955-C437-48F7-BF83-308F59F03719}">
      <dsp:nvSpPr>
        <dsp:cNvPr id="0" name=""/>
        <dsp:cNvSpPr/>
      </dsp:nvSpPr>
      <dsp:spPr>
        <a:xfrm>
          <a:off x="0" y="2571665"/>
          <a:ext cx="6666833" cy="27013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1672"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kern="1200" dirty="0">
              <a:hlinkClick xmlns:r="http://schemas.openxmlformats.org/officeDocument/2006/relationships" r:id="rId1"/>
            </a:rPr>
            <a:t>USDA: Changes to SNAP Benefit Amounts - 2023</a:t>
          </a:r>
          <a:endParaRPr lang="en-US" sz="2300" kern="1200" dirty="0"/>
        </a:p>
        <a:p>
          <a:pPr marL="228600" lvl="1" indent="-228600" algn="l" defTabSz="1022350">
            <a:lnSpc>
              <a:spcPct val="90000"/>
            </a:lnSpc>
            <a:spcBef>
              <a:spcPct val="0"/>
            </a:spcBef>
            <a:spcAft>
              <a:spcPct val="20000"/>
            </a:spcAft>
            <a:buChar char="•"/>
          </a:pPr>
          <a:r>
            <a:rPr lang="en-US" sz="2300" kern="1200" dirty="0">
              <a:hlinkClick xmlns:r="http://schemas.openxmlformats.org/officeDocument/2006/relationships" r:id="rId2"/>
            </a:rPr>
            <a:t>IDHS: SNAP Emergency Allotment Availability</a:t>
          </a:r>
          <a:endParaRPr lang="en-US" sz="2300" kern="1200" dirty="0"/>
        </a:p>
        <a:p>
          <a:pPr marL="228600" lvl="1" indent="-228600" algn="l" defTabSz="1022350">
            <a:lnSpc>
              <a:spcPct val="90000"/>
            </a:lnSpc>
            <a:spcBef>
              <a:spcPct val="0"/>
            </a:spcBef>
            <a:spcAft>
              <a:spcPct val="20000"/>
            </a:spcAft>
            <a:buChar char="•"/>
          </a:pPr>
          <a:r>
            <a:rPr lang="en-US" sz="2300" kern="1200" dirty="0">
              <a:hlinkClick xmlns:r="http://schemas.openxmlformats.org/officeDocument/2006/relationships" r:id="rId3"/>
            </a:rPr>
            <a:t>IDHS: Food</a:t>
          </a:r>
          <a:endParaRPr lang="en-US" sz="2300" kern="1200" dirty="0"/>
        </a:p>
        <a:p>
          <a:pPr marL="228600" lvl="1" indent="-228600" algn="l" defTabSz="1022350">
            <a:lnSpc>
              <a:spcPct val="90000"/>
            </a:lnSpc>
            <a:spcBef>
              <a:spcPct val="0"/>
            </a:spcBef>
            <a:spcAft>
              <a:spcPct val="20000"/>
            </a:spcAft>
            <a:buChar char="•"/>
          </a:pPr>
          <a:r>
            <a:rPr lang="en-US" sz="2300" kern="1200" dirty="0">
              <a:hlinkClick xmlns:r="http://schemas.openxmlformats.org/officeDocument/2006/relationships" r:id="rId4"/>
            </a:rPr>
            <a:t>Find Food IL Community Food Map</a:t>
          </a:r>
          <a:endParaRPr lang="en-US" sz="2300" kern="1200" dirty="0"/>
        </a:p>
        <a:p>
          <a:pPr marL="228600" lvl="1" indent="-228600" algn="l" defTabSz="1022350">
            <a:lnSpc>
              <a:spcPct val="90000"/>
            </a:lnSpc>
            <a:spcBef>
              <a:spcPct val="0"/>
            </a:spcBef>
            <a:spcAft>
              <a:spcPct val="20000"/>
            </a:spcAft>
            <a:buChar char="•"/>
          </a:pPr>
          <a:r>
            <a:rPr lang="en-US" sz="2300" kern="1200" dirty="0">
              <a:hlinkClick xmlns:r="http://schemas.openxmlformats.org/officeDocument/2006/relationships" r:id="rId5"/>
            </a:rPr>
            <a:t>Redetermination: What to Expect During the PHE Unwinding</a:t>
          </a:r>
          <a:endParaRPr lang="en-US" sz="2300" kern="1200" dirty="0"/>
        </a:p>
        <a:p>
          <a:pPr marL="228600" lvl="1" indent="-228600" algn="l" defTabSz="1022350">
            <a:lnSpc>
              <a:spcPct val="90000"/>
            </a:lnSpc>
            <a:spcBef>
              <a:spcPct val="0"/>
            </a:spcBef>
            <a:spcAft>
              <a:spcPct val="20000"/>
            </a:spcAft>
            <a:buChar char="•"/>
          </a:pPr>
          <a:r>
            <a:rPr lang="en-US" sz="2300" kern="1200" dirty="0">
              <a:hlinkClick xmlns:r="http://schemas.openxmlformats.org/officeDocument/2006/relationships" r:id="rId6"/>
            </a:rPr>
            <a:t>Application for Benefits Eligibility</a:t>
          </a:r>
        </a:p>
      </dsp:txBody>
      <dsp:txXfrm>
        <a:off x="0" y="2571665"/>
        <a:ext cx="6666833" cy="27013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D1DD7D-4364-4FC0-BD7A-6D752EA0C43B}">
      <dsp:nvSpPr>
        <dsp:cNvPr id="0" name=""/>
        <dsp:cNvSpPr/>
      </dsp:nvSpPr>
      <dsp:spPr>
        <a:xfrm>
          <a:off x="134166"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b="1" kern="1200" dirty="0">
              <a:solidFill>
                <a:schemeClr val="accent1"/>
              </a:solidFill>
              <a:latin typeface="Arial"/>
              <a:cs typeface="Arial"/>
            </a:rPr>
            <a:t>President Abraham Lincoln Hotel, Springfield, IL</a:t>
          </a:r>
          <a:endParaRPr lang="en-US" sz="1400" b="1" kern="1200" dirty="0"/>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kern="1200" dirty="0">
              <a:solidFill>
                <a:schemeClr val="accent1"/>
              </a:solidFill>
              <a:latin typeface="Arial"/>
              <a:cs typeface="Arial"/>
            </a:rPr>
            <a:t>OB- May 24th, Wednesday</a:t>
          </a:r>
        </a:p>
        <a:p>
          <a:pPr marL="114300" lvl="1" indent="-114300" algn="l" defTabSz="622300">
            <a:lnSpc>
              <a:spcPct val="90000"/>
            </a:lnSpc>
            <a:spcBef>
              <a:spcPct val="0"/>
            </a:spcBef>
            <a:spcAft>
              <a:spcPct val="15000"/>
            </a:spcAft>
            <a:buChar char="•"/>
          </a:pPr>
          <a:endParaRPr lang="en-US" sz="1400" kern="1200">
            <a:latin typeface="Arial"/>
            <a:cs typeface="Arial"/>
          </a:endParaRPr>
        </a:p>
        <a:p>
          <a:pPr marL="114300" lvl="1" indent="-114300" algn="l" defTabSz="622300" rtl="0">
            <a:lnSpc>
              <a:spcPct val="90000"/>
            </a:lnSpc>
            <a:spcBef>
              <a:spcPct val="0"/>
            </a:spcBef>
            <a:spcAft>
              <a:spcPct val="15000"/>
            </a:spcAft>
            <a:buChar char="•"/>
          </a:pPr>
          <a:r>
            <a:rPr lang="en-US" sz="1400" kern="1200" dirty="0">
              <a:solidFill>
                <a:schemeClr val="accent1"/>
              </a:solidFill>
              <a:latin typeface="Arial"/>
              <a:cs typeface="Arial"/>
            </a:rPr>
            <a:t>Neonatal- May 25th, Thursday</a:t>
          </a:r>
        </a:p>
        <a:p>
          <a:pPr marL="114300" lvl="1" indent="-114300" algn="l" defTabSz="622300">
            <a:lnSpc>
              <a:spcPct val="90000"/>
            </a:lnSpc>
            <a:spcBef>
              <a:spcPct val="0"/>
            </a:spcBef>
            <a:spcAft>
              <a:spcPct val="15000"/>
            </a:spcAft>
            <a:buChar char="•"/>
          </a:pPr>
          <a:endParaRPr lang="en-US" sz="1400" b="0" kern="1200">
            <a:latin typeface="Arial"/>
            <a:cs typeface="Arial"/>
          </a:endParaRPr>
        </a:p>
        <a:p>
          <a:pPr marL="114300" lvl="1" indent="-114300" algn="l" defTabSz="622300" rtl="0">
            <a:lnSpc>
              <a:spcPct val="90000"/>
            </a:lnSpc>
            <a:spcBef>
              <a:spcPct val="0"/>
            </a:spcBef>
            <a:spcAft>
              <a:spcPct val="15000"/>
            </a:spcAft>
            <a:buChar char="•"/>
          </a:pPr>
          <a:r>
            <a:rPr lang="en-US" sz="1400" b="0" kern="1200" dirty="0">
              <a:solidFill>
                <a:schemeClr val="accent1"/>
              </a:solidFill>
              <a:latin typeface="Arial"/>
              <a:cs typeface="Arial"/>
            </a:rPr>
            <a:t>ILPQC Room Block Now open!</a:t>
          </a:r>
        </a:p>
      </dsp:txBody>
      <dsp:txXfrm>
        <a:off x="195124" y="1439447"/>
        <a:ext cx="3089641" cy="1959333"/>
      </dsp:txXfrm>
    </dsp:sp>
    <dsp:sp modelId="{45570AD1-CF0C-47D8-981B-8E7712F67C98}">
      <dsp:nvSpPr>
        <dsp:cNvPr id="0" name=""/>
        <dsp:cNvSpPr/>
      </dsp:nvSpPr>
      <dsp:spPr>
        <a:xfrm>
          <a:off x="1912832" y="1915465"/>
          <a:ext cx="3680470" cy="3680470"/>
        </a:xfrm>
        <a:prstGeom prst="leftCircularArrow">
          <a:avLst>
            <a:gd name="adj1" fmla="val 3529"/>
            <a:gd name="adj2" fmla="val 438119"/>
            <a:gd name="adj3" fmla="val 2213630"/>
            <a:gd name="adj4" fmla="val 9024489"/>
            <a:gd name="adj5" fmla="val 4117"/>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F25B74-59DB-459F-AE5B-545FBC851F87}">
      <dsp:nvSpPr>
        <dsp:cNvPr id="0" name=""/>
        <dsp:cNvSpPr/>
      </dsp:nvSpPr>
      <dsp:spPr>
        <a:xfrm>
          <a:off x="847845" y="3459739"/>
          <a:ext cx="2854717" cy="113522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31750" rIns="47625" bIns="31750" numCol="1" spcCol="1270" anchor="ctr" anchorCtr="0">
          <a:noAutofit/>
        </a:bodyPr>
        <a:lstStyle/>
        <a:p>
          <a:pPr marL="0" lvl="0" indent="0" algn="ctr" defTabSz="1111250" rtl="0">
            <a:lnSpc>
              <a:spcPct val="90000"/>
            </a:lnSpc>
            <a:spcBef>
              <a:spcPct val="0"/>
            </a:spcBef>
            <a:spcAft>
              <a:spcPct val="35000"/>
            </a:spcAft>
            <a:buNone/>
          </a:pPr>
          <a:r>
            <a:rPr lang="en-US" sz="2500" b="1" kern="1200" dirty="0">
              <a:solidFill>
                <a:schemeClr val="accent1"/>
              </a:solidFill>
              <a:latin typeface="Arial"/>
              <a:cs typeface="Arial"/>
            </a:rPr>
            <a:t> Register Now on ILPQC Website!</a:t>
          </a:r>
        </a:p>
      </dsp:txBody>
      <dsp:txXfrm>
        <a:off x="881095" y="3492989"/>
        <a:ext cx="2788217" cy="1068727"/>
      </dsp:txXfrm>
    </dsp:sp>
    <dsp:sp modelId="{E4540ED4-266A-4F12-A6E6-014BC83EACEC}">
      <dsp:nvSpPr>
        <dsp:cNvPr id="0" name=""/>
        <dsp:cNvSpPr/>
      </dsp:nvSpPr>
      <dsp:spPr>
        <a:xfrm>
          <a:off x="4320990"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1162435"/>
              <a:satOff val="5350"/>
              <a:lumOff val="-90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kern="1200" dirty="0">
              <a:solidFill>
                <a:schemeClr val="accent1"/>
              </a:solidFill>
              <a:latin typeface="Arial"/>
              <a:cs typeface="Arial"/>
            </a:rPr>
            <a:t>Submit </a:t>
          </a:r>
          <a:r>
            <a:rPr lang="en-US" sz="1400" b="1" u="sng" kern="1200" dirty="0">
              <a:solidFill>
                <a:schemeClr val="accent1"/>
              </a:solidFill>
              <a:latin typeface="Arial"/>
              <a:cs typeface="Arial"/>
            </a:rPr>
            <a:t>all your 2022 data</a:t>
          </a:r>
          <a:r>
            <a:rPr lang="en-US" sz="1400" kern="1200" dirty="0">
              <a:solidFill>
                <a:schemeClr val="accent1"/>
              </a:solidFill>
              <a:latin typeface="Arial"/>
              <a:cs typeface="Arial"/>
            </a:rPr>
            <a:t> plus </a:t>
          </a:r>
          <a:r>
            <a:rPr lang="en-US" sz="1400" b="1" u="sng" kern="1200" dirty="0">
              <a:solidFill>
                <a:schemeClr val="accent1"/>
              </a:solidFill>
              <a:latin typeface="Arial"/>
              <a:cs typeface="Arial"/>
            </a:rPr>
            <a:t>January, February, March 2023</a:t>
          </a:r>
        </a:p>
        <a:p>
          <a:pPr marL="114300" lvl="1" indent="-114300" algn="l" defTabSz="622300">
            <a:lnSpc>
              <a:spcPct val="90000"/>
            </a:lnSpc>
            <a:spcBef>
              <a:spcPct val="0"/>
            </a:spcBef>
            <a:spcAft>
              <a:spcPct val="15000"/>
            </a:spcAft>
            <a:buChar char="•"/>
          </a:pPr>
          <a:endParaRPr lang="en-US" sz="1400" b="1" u="sng" kern="1200">
            <a:latin typeface="Arial"/>
            <a:cs typeface="Arial"/>
          </a:endParaRPr>
        </a:p>
        <a:p>
          <a:pPr marL="114300" lvl="1" indent="-114300" algn="l" defTabSz="622300" rtl="0">
            <a:lnSpc>
              <a:spcPct val="90000"/>
            </a:lnSpc>
            <a:spcBef>
              <a:spcPct val="0"/>
            </a:spcBef>
            <a:spcAft>
              <a:spcPct val="15000"/>
            </a:spcAft>
            <a:buChar char="•"/>
          </a:pPr>
          <a:r>
            <a:rPr lang="en-US" sz="1400" b="0" u="none" kern="1200" dirty="0">
              <a:solidFill>
                <a:schemeClr val="accent1"/>
              </a:solidFill>
              <a:latin typeface="Arial"/>
              <a:cs typeface="Arial"/>
            </a:rPr>
            <a:t>Review the award criteria for PVB, BE, and BASIC to achieve QI Excellence! </a:t>
          </a:r>
        </a:p>
      </dsp:txBody>
      <dsp:txXfrm>
        <a:off x="4381948" y="2007061"/>
        <a:ext cx="3089641" cy="1959333"/>
      </dsp:txXfrm>
    </dsp:sp>
    <dsp:sp modelId="{1D37E62D-9731-4C64-8EAB-56792DAF9616}">
      <dsp:nvSpPr>
        <dsp:cNvPr id="0" name=""/>
        <dsp:cNvSpPr/>
      </dsp:nvSpPr>
      <dsp:spPr>
        <a:xfrm>
          <a:off x="6081025" y="-276002"/>
          <a:ext cx="4003096" cy="4003096"/>
        </a:xfrm>
        <a:prstGeom prst="circularArrow">
          <a:avLst>
            <a:gd name="adj1" fmla="val 3244"/>
            <a:gd name="adj2" fmla="val 400095"/>
            <a:gd name="adj3" fmla="val 19415362"/>
            <a:gd name="adj4" fmla="val 12566479"/>
            <a:gd name="adj5" fmla="val 3785"/>
          </a:avLst>
        </a:prstGeom>
        <a:solidFill>
          <a:schemeClr val="accent3">
            <a:hueOff val="2324871"/>
            <a:satOff val="10701"/>
            <a:lumOff val="-1803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5C580D-10AF-44A7-8FE5-3CB764BF1B81}">
      <dsp:nvSpPr>
        <dsp:cNvPr id="0" name=""/>
        <dsp:cNvSpPr/>
      </dsp:nvSpPr>
      <dsp:spPr>
        <a:xfrm>
          <a:off x="5034670" y="810876"/>
          <a:ext cx="2854717" cy="1135227"/>
        </a:xfrm>
        <a:prstGeom prst="roundRect">
          <a:avLst>
            <a:gd name="adj" fmla="val 10000"/>
          </a:avLst>
        </a:prstGeom>
        <a:solidFill>
          <a:schemeClr val="accent3">
            <a:hueOff val="1162435"/>
            <a:satOff val="5350"/>
            <a:lumOff val="-9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31750" rIns="47625" bIns="31750" numCol="1" spcCol="1270" anchor="ctr" anchorCtr="0">
          <a:noAutofit/>
        </a:bodyPr>
        <a:lstStyle/>
        <a:p>
          <a:pPr marL="0" lvl="0" indent="0" algn="ctr" defTabSz="1111250" rtl="0">
            <a:lnSpc>
              <a:spcPct val="90000"/>
            </a:lnSpc>
            <a:spcBef>
              <a:spcPct val="0"/>
            </a:spcBef>
            <a:spcAft>
              <a:spcPct val="35000"/>
            </a:spcAft>
            <a:buNone/>
          </a:pPr>
          <a:r>
            <a:rPr lang="en-US" sz="2500" b="1" kern="1200" dirty="0">
              <a:solidFill>
                <a:schemeClr val="accent1"/>
              </a:solidFill>
              <a:latin typeface="Arial"/>
              <a:cs typeface="Arial"/>
            </a:rPr>
            <a:t>Submit your Data!</a:t>
          </a:r>
          <a:r>
            <a:rPr lang="en-US" sz="2500" kern="1200" dirty="0">
              <a:solidFill>
                <a:schemeClr val="accent1"/>
              </a:solidFill>
              <a:latin typeface="Arial"/>
              <a:cs typeface="Arial"/>
            </a:rPr>
            <a:t> </a:t>
          </a:r>
        </a:p>
      </dsp:txBody>
      <dsp:txXfrm>
        <a:off x="5067920" y="844126"/>
        <a:ext cx="2788217" cy="1068727"/>
      </dsp:txXfrm>
    </dsp:sp>
    <dsp:sp modelId="{4EC3BF90-59CB-4CD5-8E65-F8EECE8EB3B7}">
      <dsp:nvSpPr>
        <dsp:cNvPr id="0" name=""/>
        <dsp:cNvSpPr/>
      </dsp:nvSpPr>
      <dsp:spPr>
        <a:xfrm>
          <a:off x="8273339" y="1369987"/>
          <a:ext cx="3527895"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324871"/>
              <a:satOff val="10701"/>
              <a:lumOff val="-180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b="1" kern="1200" dirty="0">
              <a:solidFill>
                <a:schemeClr val="accent1"/>
              </a:solidFill>
              <a:latin typeface="Arial"/>
              <a:cs typeface="Arial"/>
            </a:rPr>
            <a:t>Start brainstorming your storyboard ideas! </a:t>
          </a:r>
        </a:p>
        <a:p>
          <a:pPr marL="114300" lvl="1" indent="-114300" algn="l" defTabSz="622300" rtl="0">
            <a:lnSpc>
              <a:spcPct val="90000"/>
            </a:lnSpc>
            <a:spcBef>
              <a:spcPct val="0"/>
            </a:spcBef>
            <a:spcAft>
              <a:spcPct val="15000"/>
            </a:spcAft>
            <a:buChar char="•"/>
          </a:pPr>
          <a:r>
            <a:rPr lang="en-US" sz="1400" b="1" kern="1200" dirty="0">
              <a:solidFill>
                <a:schemeClr val="accent1"/>
              </a:solidFill>
              <a:latin typeface="Arial"/>
              <a:cs typeface="Arial"/>
            </a:rPr>
            <a:t>Share your teams past year QI story </a:t>
          </a:r>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b="0" kern="1200" dirty="0">
              <a:solidFill>
                <a:schemeClr val="accent1"/>
              </a:solidFill>
              <a:latin typeface="Arial"/>
              <a:cs typeface="Arial"/>
            </a:rPr>
            <a:t>Share your successes, opportunities, and specific strategies implemented! </a:t>
          </a:r>
        </a:p>
        <a:p>
          <a:pPr marL="114300" lvl="1" indent="-114300" algn="l" defTabSz="622300" rtl="0">
            <a:lnSpc>
              <a:spcPct val="90000"/>
            </a:lnSpc>
            <a:spcBef>
              <a:spcPct val="0"/>
            </a:spcBef>
            <a:spcAft>
              <a:spcPct val="15000"/>
            </a:spcAft>
            <a:buChar char="•"/>
          </a:pPr>
          <a:r>
            <a:rPr lang="en-US" sz="1400" b="0" kern="1200" dirty="0">
              <a:solidFill>
                <a:schemeClr val="accent1"/>
              </a:solidFill>
              <a:latin typeface="Arial"/>
              <a:cs typeface="Arial"/>
            </a:rPr>
            <a:t>Share your DATA, graphs, PDSA cycles, process flow or 30/60/90 plans</a:t>
          </a:r>
        </a:p>
      </dsp:txBody>
      <dsp:txXfrm>
        <a:off x="8334297" y="1430945"/>
        <a:ext cx="3405979" cy="1959333"/>
      </dsp:txXfrm>
    </dsp:sp>
    <dsp:sp modelId="{2A29C3C5-932D-4B6F-8969-B5E5B16FD239}">
      <dsp:nvSpPr>
        <dsp:cNvPr id="0" name=""/>
        <dsp:cNvSpPr/>
      </dsp:nvSpPr>
      <dsp:spPr>
        <a:xfrm>
          <a:off x="9379663" y="3459739"/>
          <a:ext cx="2854717" cy="1135227"/>
        </a:xfrm>
        <a:prstGeom prst="roundRect">
          <a:avLst>
            <a:gd name="adj" fmla="val 10000"/>
          </a:avLst>
        </a:prstGeom>
        <a:solidFill>
          <a:schemeClr val="accent3">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31750" rIns="47625" bIns="31750" numCol="1" spcCol="1270" anchor="ctr" anchorCtr="0">
          <a:noAutofit/>
        </a:bodyPr>
        <a:lstStyle/>
        <a:p>
          <a:pPr marL="0" lvl="0" indent="0" algn="ctr" defTabSz="1111250" rtl="0">
            <a:lnSpc>
              <a:spcPct val="90000"/>
            </a:lnSpc>
            <a:spcBef>
              <a:spcPct val="0"/>
            </a:spcBef>
            <a:spcAft>
              <a:spcPct val="35000"/>
            </a:spcAft>
            <a:buNone/>
          </a:pPr>
          <a:r>
            <a:rPr lang="en-US" sz="2500" b="1" kern="1200" dirty="0">
              <a:solidFill>
                <a:schemeClr val="accent1"/>
              </a:solidFill>
              <a:latin typeface="Arial"/>
              <a:cs typeface="Arial"/>
            </a:rPr>
            <a:t> Storyboard Submissions!</a:t>
          </a:r>
        </a:p>
      </dsp:txBody>
      <dsp:txXfrm>
        <a:off x="9412913" y="3492989"/>
        <a:ext cx="2788217" cy="106872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54B128-780C-479E-A16E-C791F2C58080}">
      <dsp:nvSpPr>
        <dsp:cNvPr id="0" name=""/>
        <dsp:cNvSpPr/>
      </dsp:nvSpPr>
      <dsp:spPr>
        <a:xfrm>
          <a:off x="822959" y="0"/>
          <a:ext cx="9326880" cy="4351338"/>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11C5E91-5FAC-4AF6-B89C-F3A66402389E}">
      <dsp:nvSpPr>
        <dsp:cNvPr id="0" name=""/>
        <dsp:cNvSpPr/>
      </dsp:nvSpPr>
      <dsp:spPr>
        <a:xfrm>
          <a:off x="371832" y="1305401"/>
          <a:ext cx="3291840" cy="174053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chemeClr val="accent6"/>
              </a:solidFill>
              <a:latin typeface="Calibri" panose="020F0502020204030204"/>
            </a:rPr>
            <a:t>2022 Regional </a:t>
          </a:r>
          <a:r>
            <a:rPr lang="en-US" sz="1900" kern="1200" dirty="0">
              <a:latin typeface="Calibri" panose="020F0502020204030204"/>
            </a:rPr>
            <a:t>Community Engagement Meetings</a:t>
          </a:r>
          <a:endParaRPr lang="en-US" sz="1900" kern="1200" dirty="0"/>
        </a:p>
      </dsp:txBody>
      <dsp:txXfrm>
        <a:off x="456798" y="1390367"/>
        <a:ext cx="3121908" cy="1570603"/>
      </dsp:txXfrm>
    </dsp:sp>
    <dsp:sp modelId="{96547441-D357-4F74-B85C-02808D7168F8}">
      <dsp:nvSpPr>
        <dsp:cNvPr id="0" name=""/>
        <dsp:cNvSpPr/>
      </dsp:nvSpPr>
      <dsp:spPr>
        <a:xfrm>
          <a:off x="3840480" y="1305401"/>
          <a:ext cx="3291840" cy="174053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t" anchorCtr="0">
          <a:noAutofit/>
        </a:bodyPr>
        <a:lstStyle/>
        <a:p>
          <a:pPr marL="0" lvl="0" indent="0" algn="l" defTabSz="844550" rtl="0">
            <a:lnSpc>
              <a:spcPct val="90000"/>
            </a:lnSpc>
            <a:spcBef>
              <a:spcPct val="0"/>
            </a:spcBef>
            <a:spcAft>
              <a:spcPct val="35000"/>
            </a:spcAft>
            <a:buNone/>
          </a:pPr>
          <a:r>
            <a:rPr lang="en-US" sz="1900" b="1" kern="1200" dirty="0">
              <a:solidFill>
                <a:schemeClr val="accent4"/>
              </a:solidFill>
              <a:latin typeface="Calibri" panose="020F0502020204030204"/>
            </a:rPr>
            <a:t>2023 Local</a:t>
          </a:r>
          <a:r>
            <a:rPr lang="en-US" sz="1900" kern="1200" dirty="0">
              <a:solidFill>
                <a:schemeClr val="accent4"/>
              </a:solidFill>
              <a:latin typeface="Calibri" panose="020F0502020204030204"/>
            </a:rPr>
            <a:t> </a:t>
          </a:r>
          <a:r>
            <a:rPr lang="en-US" sz="1900" kern="1200" dirty="0">
              <a:latin typeface="Calibri" panose="020F0502020204030204"/>
            </a:rPr>
            <a:t>Hospital Patient/Community Engagement</a:t>
          </a:r>
        </a:p>
        <a:p>
          <a:pPr marL="114300" lvl="1" indent="-114300" algn="l" defTabSz="666750" rtl="0">
            <a:lnSpc>
              <a:spcPct val="90000"/>
            </a:lnSpc>
            <a:spcBef>
              <a:spcPct val="0"/>
            </a:spcBef>
            <a:spcAft>
              <a:spcPct val="15000"/>
            </a:spcAft>
            <a:buChar char="•"/>
          </a:pPr>
          <a:r>
            <a:rPr lang="en-US" sz="1500" kern="1200" dirty="0">
              <a:latin typeface="Calibri" panose="020F0502020204030204"/>
            </a:rPr>
            <a:t>Respectful Care Breakfast</a:t>
          </a:r>
        </a:p>
        <a:p>
          <a:pPr marL="114300" lvl="1" indent="-114300" algn="l" defTabSz="666750" rtl="0">
            <a:lnSpc>
              <a:spcPct val="90000"/>
            </a:lnSpc>
            <a:spcBef>
              <a:spcPct val="0"/>
            </a:spcBef>
            <a:spcAft>
              <a:spcPct val="15000"/>
            </a:spcAft>
            <a:buChar char="•"/>
          </a:pPr>
          <a:r>
            <a:rPr lang="en-US" sz="1500" kern="1200" dirty="0">
              <a:latin typeface="Calibri" panose="020F0502020204030204"/>
            </a:rPr>
            <a:t>Patient Partner on QI Team</a:t>
          </a:r>
          <a:endParaRPr lang="en-US" sz="1500" kern="1200" dirty="0"/>
        </a:p>
      </dsp:txBody>
      <dsp:txXfrm>
        <a:off x="3925446" y="1390367"/>
        <a:ext cx="3121908" cy="1570603"/>
      </dsp:txXfrm>
    </dsp:sp>
    <dsp:sp modelId="{28148E26-E074-43C9-87C3-BEC373394AB6}">
      <dsp:nvSpPr>
        <dsp:cNvPr id="0" name=""/>
        <dsp:cNvSpPr/>
      </dsp:nvSpPr>
      <dsp:spPr>
        <a:xfrm>
          <a:off x="7309127" y="1305401"/>
          <a:ext cx="3291840" cy="174053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US" sz="1900" b="1" kern="1200" dirty="0">
              <a:solidFill>
                <a:schemeClr val="accent2"/>
              </a:solidFill>
              <a:latin typeface="Calibri" panose="020F0502020204030204"/>
            </a:rPr>
            <a:t>Achievable &amp; Sustainable Patient/Community Engagement Strategies!</a:t>
          </a:r>
          <a:endParaRPr lang="en-US" sz="1900" b="1" kern="1200" dirty="0">
            <a:solidFill>
              <a:schemeClr val="accent2"/>
            </a:solidFill>
          </a:endParaRPr>
        </a:p>
      </dsp:txBody>
      <dsp:txXfrm>
        <a:off x="7394093" y="1390367"/>
        <a:ext cx="3121908" cy="157060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190B134-FC49-4FA7-A077-E37CE66721D9}">
      <dsp:nvSpPr>
        <dsp:cNvPr id="0" name=""/>
        <dsp:cNvSpPr/>
      </dsp:nvSpPr>
      <dsp:spPr>
        <a:xfrm>
          <a:off x="9386" y="1494957"/>
          <a:ext cx="3523602" cy="3523602"/>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3916" tIns="20320" rIns="193916" bIns="20320" numCol="1" spcCol="1270" anchor="ctr" anchorCtr="1">
          <a:noAutofit/>
        </a:bodyPr>
        <a:lstStyle/>
        <a:p>
          <a:pPr marL="0" lvl="0" indent="0" algn="l" defTabSz="711200" rtl="0">
            <a:lnSpc>
              <a:spcPct val="90000"/>
            </a:lnSpc>
            <a:spcBef>
              <a:spcPct val="0"/>
            </a:spcBef>
            <a:spcAft>
              <a:spcPct val="35000"/>
            </a:spcAft>
            <a:buNone/>
          </a:pPr>
          <a:r>
            <a:rPr lang="en-US" sz="1600" b="1" u="sng" kern="1200" dirty="0">
              <a:latin typeface="Calibri" panose="020F0502020204030204"/>
            </a:rPr>
            <a:t>Set the Date </a:t>
          </a:r>
        </a:p>
        <a:p>
          <a:pPr marL="114300" lvl="1" indent="-114300" algn="l" defTabSz="533400" rtl="0">
            <a:lnSpc>
              <a:spcPct val="90000"/>
            </a:lnSpc>
            <a:spcBef>
              <a:spcPct val="0"/>
            </a:spcBef>
            <a:spcAft>
              <a:spcPct val="15000"/>
            </a:spcAft>
            <a:buChar char="•"/>
          </a:pPr>
          <a:r>
            <a:rPr lang="en-US" sz="1200" kern="1200" dirty="0">
              <a:latin typeface="Calibri" panose="020F0502020204030204"/>
            </a:rPr>
            <a:t>Black Maternal Health Week (April 11-17) and/or </a:t>
          </a:r>
        </a:p>
        <a:p>
          <a:pPr marL="114300" lvl="1" indent="-114300" algn="l" defTabSz="533400" rtl="0">
            <a:lnSpc>
              <a:spcPct val="90000"/>
            </a:lnSpc>
            <a:spcBef>
              <a:spcPct val="0"/>
            </a:spcBef>
            <a:spcAft>
              <a:spcPct val="15000"/>
            </a:spcAft>
            <a:buChar char="•"/>
          </a:pPr>
          <a:r>
            <a:rPr lang="en-US" sz="1200" kern="1200" dirty="0">
              <a:latin typeface="Calibri" panose="020F0502020204030204"/>
            </a:rPr>
            <a:t>Mother’s Day Week (week of May 14)</a:t>
          </a:r>
          <a:endParaRPr lang="en-US" sz="1200" kern="1200" dirty="0"/>
        </a:p>
        <a:p>
          <a:pPr marL="114300" lvl="1" indent="-114300" algn="l" defTabSz="533400" rtl="0">
            <a:lnSpc>
              <a:spcPct val="90000"/>
            </a:lnSpc>
            <a:spcBef>
              <a:spcPct val="0"/>
            </a:spcBef>
            <a:spcAft>
              <a:spcPct val="15000"/>
            </a:spcAft>
            <a:buChar char="•"/>
          </a:pPr>
          <a:r>
            <a:rPr lang="en-US" sz="1200" kern="1200" dirty="0"/>
            <a:t>Consider using a Grand Rounds slot</a:t>
          </a:r>
        </a:p>
      </dsp:txBody>
      <dsp:txXfrm>
        <a:off x="525406" y="2010977"/>
        <a:ext cx="2491562" cy="2491562"/>
      </dsp:txXfrm>
    </dsp:sp>
    <dsp:sp modelId="{A35AFF8D-434F-45AE-B678-42454849FFC5}">
      <dsp:nvSpPr>
        <dsp:cNvPr id="0" name=""/>
        <dsp:cNvSpPr/>
      </dsp:nvSpPr>
      <dsp:spPr>
        <a:xfrm>
          <a:off x="2828268" y="1494957"/>
          <a:ext cx="3432728" cy="3523602"/>
        </a:xfrm>
        <a:prstGeom prst="ellipse">
          <a:avLst/>
        </a:prstGeom>
        <a:solidFill>
          <a:schemeClr val="accent3">
            <a:alpha val="50000"/>
            <a:hueOff val="774957"/>
            <a:satOff val="3567"/>
            <a:lumOff val="-60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3916" tIns="20320" rIns="193916" bIns="20320" numCol="1" spcCol="1270" anchor="ctr" anchorCtr="1">
          <a:noAutofit/>
        </a:bodyPr>
        <a:lstStyle/>
        <a:p>
          <a:pPr marL="0" lvl="0" indent="0" algn="l" defTabSz="711200" rtl="0">
            <a:lnSpc>
              <a:spcPct val="90000"/>
            </a:lnSpc>
            <a:spcBef>
              <a:spcPct val="0"/>
            </a:spcBef>
            <a:spcAft>
              <a:spcPct val="35000"/>
            </a:spcAft>
            <a:buNone/>
          </a:pPr>
          <a:r>
            <a:rPr lang="en-US" sz="1600" b="1" u="sng" kern="1200" dirty="0">
              <a:latin typeface="Calibri" panose="020F0502020204030204"/>
            </a:rPr>
            <a:t>Invite Patients</a:t>
          </a:r>
        </a:p>
        <a:p>
          <a:pPr marL="114300" lvl="1" indent="-114300" algn="l" defTabSz="533400" rtl="0">
            <a:lnSpc>
              <a:spcPct val="90000"/>
            </a:lnSpc>
            <a:spcBef>
              <a:spcPct val="0"/>
            </a:spcBef>
            <a:spcAft>
              <a:spcPct val="15000"/>
            </a:spcAft>
            <a:buChar char="•"/>
          </a:pPr>
          <a:r>
            <a:rPr lang="en-US" sz="1200" kern="1200" dirty="0">
              <a:latin typeface="Calibri" panose="020F0502020204030204"/>
            </a:rPr>
            <a:t>Identify patients to invite through PP Leader Rounds</a:t>
          </a:r>
          <a:endParaRPr lang="en-US" sz="1200" kern="1200" dirty="0"/>
        </a:p>
        <a:p>
          <a:pPr marL="114300" lvl="1" indent="-114300" algn="l" defTabSz="533400" rtl="0">
            <a:lnSpc>
              <a:spcPct val="90000"/>
            </a:lnSpc>
            <a:spcBef>
              <a:spcPct val="0"/>
            </a:spcBef>
            <a:spcAft>
              <a:spcPct val="15000"/>
            </a:spcAft>
            <a:buChar char="•"/>
          </a:pPr>
          <a:r>
            <a:rPr lang="en-US" sz="1200" kern="1200" dirty="0">
              <a:latin typeface="Calibri" panose="020F0502020204030204"/>
            </a:rPr>
            <a:t>Ask OB offices / clinics to invite a few pp patients</a:t>
          </a:r>
        </a:p>
        <a:p>
          <a:pPr marL="114300" lvl="1" indent="-114300" algn="l" defTabSz="533400" rtl="0">
            <a:lnSpc>
              <a:spcPct val="90000"/>
            </a:lnSpc>
            <a:spcBef>
              <a:spcPct val="0"/>
            </a:spcBef>
            <a:spcAft>
              <a:spcPct val="15000"/>
            </a:spcAft>
            <a:buChar char="•"/>
          </a:pPr>
          <a:r>
            <a:rPr lang="en-US" sz="1200" kern="1200" dirty="0">
              <a:latin typeface="Calibri" panose="020F0502020204030204"/>
            </a:rPr>
            <a:t>Invite NICU moms</a:t>
          </a:r>
          <a:endParaRPr lang="en-US" sz="1200" kern="1200" dirty="0"/>
        </a:p>
        <a:p>
          <a:pPr marL="114300" lvl="1" indent="-114300" algn="l" defTabSz="533400" rtl="0">
            <a:lnSpc>
              <a:spcPct val="90000"/>
            </a:lnSpc>
            <a:spcBef>
              <a:spcPct val="0"/>
            </a:spcBef>
            <a:spcAft>
              <a:spcPct val="15000"/>
            </a:spcAft>
            <a:buChar char="•"/>
          </a:pPr>
          <a:r>
            <a:rPr lang="en-US" sz="1200" kern="1200" dirty="0">
              <a:latin typeface="Calibri" panose="020F0502020204030204"/>
            </a:rPr>
            <a:t>Invite Community Members (doulas, community health workers, etc.)</a:t>
          </a:r>
        </a:p>
      </dsp:txBody>
      <dsp:txXfrm>
        <a:off x="3330979" y="2010977"/>
        <a:ext cx="2427306" cy="2491562"/>
      </dsp:txXfrm>
    </dsp:sp>
    <dsp:sp modelId="{F5CB5FD5-9D21-4536-A7D5-34E2829EFAA5}">
      <dsp:nvSpPr>
        <dsp:cNvPr id="0" name=""/>
        <dsp:cNvSpPr/>
      </dsp:nvSpPr>
      <dsp:spPr>
        <a:xfrm>
          <a:off x="5556276" y="1494957"/>
          <a:ext cx="3523602" cy="3523602"/>
        </a:xfrm>
        <a:prstGeom prst="ellipse">
          <a:avLst/>
        </a:prstGeom>
        <a:solidFill>
          <a:schemeClr val="accent3">
            <a:alpha val="50000"/>
            <a:hueOff val="1549914"/>
            <a:satOff val="7134"/>
            <a:lumOff val="-120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3916" tIns="20320" rIns="193916" bIns="20320" numCol="1" spcCol="1270" anchor="ctr" anchorCtr="0">
          <a:noAutofit/>
        </a:bodyPr>
        <a:lstStyle/>
        <a:p>
          <a:pPr marL="0" lvl="0" indent="0" algn="ctr" defTabSz="711200" rtl="0">
            <a:lnSpc>
              <a:spcPct val="90000"/>
            </a:lnSpc>
            <a:spcBef>
              <a:spcPct val="0"/>
            </a:spcBef>
            <a:spcAft>
              <a:spcPct val="35000"/>
            </a:spcAft>
            <a:buNone/>
          </a:pPr>
          <a:r>
            <a:rPr lang="en-US" sz="1600" b="1" u="sng" kern="1200" dirty="0">
              <a:latin typeface="Calibri" panose="020F0502020204030204"/>
            </a:rPr>
            <a:t>Invite Providers, Nurses, Staff  to breakfast</a:t>
          </a:r>
          <a:r>
            <a:rPr lang="en-US" sz="1600" kern="1200" dirty="0">
              <a:latin typeface="Calibri" panose="020F0502020204030204"/>
            </a:rPr>
            <a:t>, get nametags, use 20 minutes for breakfast mingling, then intro BE Initiative and Respectful Care, then hold Panel Discussion to discuss how to optimize Respectful Care                                    </a:t>
          </a:r>
        </a:p>
      </dsp:txBody>
      <dsp:txXfrm>
        <a:off x="6072296" y="2010977"/>
        <a:ext cx="2491562" cy="2491562"/>
      </dsp:txXfrm>
    </dsp:sp>
    <dsp:sp modelId="{23C263ED-262F-4056-B1CE-A1FFB48795DC}">
      <dsp:nvSpPr>
        <dsp:cNvPr id="0" name=""/>
        <dsp:cNvSpPr/>
      </dsp:nvSpPr>
      <dsp:spPr>
        <a:xfrm>
          <a:off x="8375158" y="1494957"/>
          <a:ext cx="3523602" cy="3523602"/>
        </a:xfrm>
        <a:prstGeom prst="ellipse">
          <a:avLst/>
        </a:prstGeom>
        <a:solidFill>
          <a:schemeClr val="accent3">
            <a:alpha val="50000"/>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3916" tIns="20320" rIns="193916" bIns="20320" numCol="1" spcCol="1270" anchor="ctr" anchorCtr="0">
          <a:noAutofit/>
        </a:bodyPr>
        <a:lstStyle/>
        <a:p>
          <a:pPr marL="0" lvl="0" indent="0" algn="ctr" defTabSz="711200" rtl="0">
            <a:lnSpc>
              <a:spcPct val="90000"/>
            </a:lnSpc>
            <a:spcBef>
              <a:spcPct val="0"/>
            </a:spcBef>
            <a:spcAft>
              <a:spcPct val="35000"/>
            </a:spcAft>
            <a:buNone/>
          </a:pPr>
          <a:r>
            <a:rPr lang="en-US" sz="1600" b="1" kern="1200" dirty="0">
              <a:latin typeface="Calibri" panose="020F0502020204030204"/>
            </a:rPr>
            <a:t>Celebration of Respectful Care and Patient Voices Breakfast with clinical team members and patients! </a:t>
          </a:r>
          <a:endParaRPr lang="en-US" sz="1600" b="0" kern="1200" dirty="0">
            <a:latin typeface="Calibri" panose="020F0502020204030204"/>
          </a:endParaRPr>
        </a:p>
      </dsp:txBody>
      <dsp:txXfrm>
        <a:off x="8891178" y="2010977"/>
        <a:ext cx="2491562" cy="249156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60D894-1F6B-4845-BEE8-EE5977748073}">
      <dsp:nvSpPr>
        <dsp:cNvPr id="0" name=""/>
        <dsp:cNvSpPr/>
      </dsp:nvSpPr>
      <dsp:spPr>
        <a:xfrm>
          <a:off x="1217472" y="301743"/>
          <a:ext cx="3950725" cy="3544809"/>
        </a:xfrm>
        <a:prstGeom prst="circularArrow">
          <a:avLst>
            <a:gd name="adj1" fmla="val 5689"/>
            <a:gd name="adj2" fmla="val 340510"/>
            <a:gd name="adj3" fmla="val 12433145"/>
            <a:gd name="adj4" fmla="val 18261636"/>
            <a:gd name="adj5" fmla="val 5908"/>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51A7A668-3814-4FC8-9280-A38EB37102B8}">
      <dsp:nvSpPr>
        <dsp:cNvPr id="0" name=""/>
        <dsp:cNvSpPr/>
      </dsp:nvSpPr>
      <dsp:spPr>
        <a:xfrm>
          <a:off x="1824118" y="0"/>
          <a:ext cx="2488021" cy="1244010"/>
        </a:xfrm>
        <a:prstGeom prst="roundRect">
          <a:avLst/>
        </a:prstGeom>
        <a:gradFill rotWithShape="0">
          <a:gsLst>
            <a:gs pos="0">
              <a:schemeClr val="accent2">
                <a:shade val="80000"/>
                <a:hueOff val="0"/>
                <a:satOff val="0"/>
                <a:lumOff val="0"/>
                <a:alphaOff val="0"/>
                <a:satMod val="103000"/>
                <a:lumMod val="102000"/>
                <a:tint val="94000"/>
              </a:schemeClr>
            </a:gs>
            <a:gs pos="50000">
              <a:schemeClr val="accent2">
                <a:shade val="80000"/>
                <a:hueOff val="0"/>
                <a:satOff val="0"/>
                <a:lumOff val="0"/>
                <a:alphaOff val="0"/>
                <a:satMod val="110000"/>
                <a:lumMod val="100000"/>
                <a:shade val="100000"/>
              </a:schemeClr>
            </a:gs>
            <a:gs pos="100000">
              <a:schemeClr val="accent2">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tx1">
                  <a:lumMod val="50000"/>
                </a:schemeClr>
              </a:solidFill>
            </a:rPr>
            <a:t>Labor &amp; Delivery </a:t>
          </a:r>
        </a:p>
      </dsp:txBody>
      <dsp:txXfrm>
        <a:off x="1884846" y="60728"/>
        <a:ext cx="2366565" cy="1122554"/>
      </dsp:txXfrm>
    </dsp:sp>
    <dsp:sp modelId="{57CA7479-498D-4F79-B0CE-DF87CB90CFF4}">
      <dsp:nvSpPr>
        <dsp:cNvPr id="0" name=""/>
        <dsp:cNvSpPr/>
      </dsp:nvSpPr>
      <dsp:spPr>
        <a:xfrm>
          <a:off x="3537725" y="2328257"/>
          <a:ext cx="2488021" cy="1244010"/>
        </a:xfrm>
        <a:prstGeom prst="roundRect">
          <a:avLst/>
        </a:prstGeom>
        <a:gradFill rotWithShape="0">
          <a:gsLst>
            <a:gs pos="0">
              <a:schemeClr val="accent2">
                <a:shade val="80000"/>
                <a:hueOff val="111385"/>
                <a:satOff val="9396"/>
                <a:lumOff val="10062"/>
                <a:alphaOff val="0"/>
                <a:satMod val="103000"/>
                <a:lumMod val="102000"/>
                <a:tint val="94000"/>
              </a:schemeClr>
            </a:gs>
            <a:gs pos="50000">
              <a:schemeClr val="accent2">
                <a:shade val="80000"/>
                <a:hueOff val="111385"/>
                <a:satOff val="9396"/>
                <a:lumOff val="10062"/>
                <a:alphaOff val="0"/>
                <a:satMod val="110000"/>
                <a:lumMod val="100000"/>
                <a:shade val="100000"/>
              </a:schemeClr>
            </a:gs>
            <a:gs pos="100000">
              <a:schemeClr val="accent2">
                <a:shade val="80000"/>
                <a:hueOff val="111385"/>
                <a:satOff val="9396"/>
                <a:lumOff val="1006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solidFill>
                <a:schemeClr val="tx1">
                  <a:lumMod val="50000"/>
                </a:schemeClr>
              </a:solidFill>
            </a:rPr>
            <a:t>Respectful Care Practices </a:t>
          </a:r>
        </a:p>
      </dsp:txBody>
      <dsp:txXfrm>
        <a:off x="3598453" y="2388985"/>
        <a:ext cx="2366565" cy="1122554"/>
      </dsp:txXfrm>
    </dsp:sp>
    <dsp:sp modelId="{0669E163-0634-4711-BFF8-7640BCAFA013}">
      <dsp:nvSpPr>
        <dsp:cNvPr id="0" name=""/>
        <dsp:cNvSpPr/>
      </dsp:nvSpPr>
      <dsp:spPr>
        <a:xfrm>
          <a:off x="850728" y="2328257"/>
          <a:ext cx="2488021" cy="1244010"/>
        </a:xfrm>
        <a:prstGeom prst="roundRect">
          <a:avLst/>
        </a:prstGeom>
        <a:gradFill rotWithShape="0">
          <a:gsLst>
            <a:gs pos="0">
              <a:schemeClr val="accent2">
                <a:shade val="80000"/>
                <a:hueOff val="222770"/>
                <a:satOff val="18793"/>
                <a:lumOff val="20124"/>
                <a:alphaOff val="0"/>
                <a:satMod val="103000"/>
                <a:lumMod val="102000"/>
                <a:tint val="94000"/>
              </a:schemeClr>
            </a:gs>
            <a:gs pos="50000">
              <a:schemeClr val="accent2">
                <a:shade val="80000"/>
                <a:hueOff val="222770"/>
                <a:satOff val="18793"/>
                <a:lumOff val="20124"/>
                <a:alphaOff val="0"/>
                <a:satMod val="110000"/>
                <a:lumMod val="100000"/>
                <a:shade val="100000"/>
              </a:schemeClr>
            </a:gs>
            <a:gs pos="100000">
              <a:schemeClr val="accent2">
                <a:shade val="80000"/>
                <a:hueOff val="222770"/>
                <a:satOff val="18793"/>
                <a:lumOff val="2012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98120" tIns="198120" rIns="198120" bIns="198120" numCol="1" spcCol="1270" anchor="ctr" anchorCtr="0">
          <a:noAutofit/>
        </a:bodyPr>
        <a:lstStyle/>
        <a:p>
          <a:pPr marL="0" lvl="0" indent="0" algn="ctr" defTabSz="2311400">
            <a:lnSpc>
              <a:spcPct val="90000"/>
            </a:lnSpc>
            <a:spcBef>
              <a:spcPct val="0"/>
            </a:spcBef>
            <a:spcAft>
              <a:spcPct val="35000"/>
            </a:spcAft>
            <a:buNone/>
          </a:pPr>
          <a:r>
            <a:rPr lang="en-US" sz="5200" kern="1200">
              <a:solidFill>
                <a:schemeClr val="tx1">
                  <a:lumMod val="50000"/>
                </a:schemeClr>
              </a:solidFill>
            </a:rPr>
            <a:t>PREM</a:t>
          </a:r>
        </a:p>
      </dsp:txBody>
      <dsp:txXfrm>
        <a:off x="911456" y="2388985"/>
        <a:ext cx="2366565" cy="112255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4F11D6-1EF8-4060-B2E6-9038C247497D}">
      <dsp:nvSpPr>
        <dsp:cNvPr id="0" name=""/>
        <dsp:cNvSpPr/>
      </dsp:nvSpPr>
      <dsp:spPr>
        <a:xfrm>
          <a:off x="0" y="42799"/>
          <a:ext cx="6666833" cy="127296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0" i="0" kern="1200" dirty="0">
              <a:solidFill>
                <a:schemeClr val="accent1"/>
              </a:solidFill>
            </a:rPr>
            <a:t>AWHONN SBAR for Equitable Patient Care</a:t>
          </a:r>
          <a:endParaRPr lang="en-US" sz="3200" kern="1200" dirty="0">
            <a:solidFill>
              <a:schemeClr val="accent1"/>
            </a:solidFill>
          </a:endParaRPr>
        </a:p>
      </dsp:txBody>
      <dsp:txXfrm>
        <a:off x="62141" y="104940"/>
        <a:ext cx="6542551" cy="1148678"/>
      </dsp:txXfrm>
    </dsp:sp>
    <dsp:sp modelId="{9C18E8AF-0D2A-4DE8-A62E-EB7671F50AF6}">
      <dsp:nvSpPr>
        <dsp:cNvPr id="0" name=""/>
        <dsp:cNvSpPr/>
      </dsp:nvSpPr>
      <dsp:spPr>
        <a:xfrm>
          <a:off x="0" y="1407919"/>
          <a:ext cx="6666833" cy="1272960"/>
        </a:xfrm>
        <a:prstGeom prst="roundRect">
          <a:avLst/>
        </a:prstGeom>
        <a:gradFill rotWithShape="0">
          <a:gsLst>
            <a:gs pos="0">
              <a:schemeClr val="accent5">
                <a:hueOff val="-3044279"/>
                <a:satOff val="-17365"/>
                <a:lumOff val="-7059"/>
                <a:alphaOff val="0"/>
                <a:satMod val="103000"/>
                <a:lumMod val="102000"/>
                <a:tint val="94000"/>
              </a:schemeClr>
            </a:gs>
            <a:gs pos="50000">
              <a:schemeClr val="accent5">
                <a:hueOff val="-3044279"/>
                <a:satOff val="-17365"/>
                <a:lumOff val="-7059"/>
                <a:alphaOff val="0"/>
                <a:satMod val="110000"/>
                <a:lumMod val="100000"/>
                <a:shade val="100000"/>
              </a:schemeClr>
            </a:gs>
            <a:gs pos="100000">
              <a:schemeClr val="accent5">
                <a:hueOff val="-3044279"/>
                <a:satOff val="-17365"/>
                <a:lumOff val="-705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0" i="0" kern="1200">
              <a:solidFill>
                <a:schemeClr val="accent1"/>
              </a:solidFill>
            </a:rPr>
            <a:t>AWHONN Respectful Maternity Care Guideline &amp; Implementation Toolkit</a:t>
          </a:r>
          <a:endParaRPr lang="en-US" sz="3200" kern="1200" dirty="0">
            <a:solidFill>
              <a:schemeClr val="accent1"/>
            </a:solidFill>
          </a:endParaRPr>
        </a:p>
      </dsp:txBody>
      <dsp:txXfrm>
        <a:off x="62141" y="1470060"/>
        <a:ext cx="6542551" cy="1148678"/>
      </dsp:txXfrm>
    </dsp:sp>
    <dsp:sp modelId="{AAEFC77D-22A8-40A3-BA1E-90CD98901997}">
      <dsp:nvSpPr>
        <dsp:cNvPr id="0" name=""/>
        <dsp:cNvSpPr/>
      </dsp:nvSpPr>
      <dsp:spPr>
        <a:xfrm>
          <a:off x="0" y="2773040"/>
          <a:ext cx="6666833" cy="1272960"/>
        </a:xfrm>
        <a:prstGeom prst="roundRect">
          <a:avLst/>
        </a:prstGeom>
        <a:gradFill rotWithShape="0">
          <a:gsLst>
            <a:gs pos="0">
              <a:schemeClr val="accent5">
                <a:hueOff val="-6088558"/>
                <a:satOff val="-34730"/>
                <a:lumOff val="-14117"/>
                <a:alphaOff val="0"/>
                <a:satMod val="103000"/>
                <a:lumMod val="102000"/>
                <a:tint val="94000"/>
              </a:schemeClr>
            </a:gs>
            <a:gs pos="50000">
              <a:schemeClr val="accent5">
                <a:hueOff val="-6088558"/>
                <a:satOff val="-34730"/>
                <a:lumOff val="-14117"/>
                <a:alphaOff val="0"/>
                <a:satMod val="110000"/>
                <a:lumMod val="100000"/>
                <a:shade val="100000"/>
              </a:schemeClr>
            </a:gs>
            <a:gs pos="100000">
              <a:schemeClr val="accent5">
                <a:hueOff val="-6088558"/>
                <a:satOff val="-34730"/>
                <a:lumOff val="-1411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0" i="0" kern="1200" dirty="0">
              <a:solidFill>
                <a:schemeClr val="accent1"/>
              </a:solidFill>
            </a:rPr>
            <a:t>CDC Hear Her Campaign</a:t>
          </a:r>
          <a:endParaRPr lang="en-US" sz="3200" kern="1200" dirty="0">
            <a:solidFill>
              <a:schemeClr val="accent1"/>
            </a:solidFill>
          </a:endParaRPr>
        </a:p>
      </dsp:txBody>
      <dsp:txXfrm>
        <a:off x="62141" y="2835181"/>
        <a:ext cx="6542551" cy="1148678"/>
      </dsp:txXfrm>
    </dsp:sp>
    <dsp:sp modelId="{63B74095-A186-446D-86DC-7CF505A20D35}">
      <dsp:nvSpPr>
        <dsp:cNvPr id="0" name=""/>
        <dsp:cNvSpPr/>
      </dsp:nvSpPr>
      <dsp:spPr>
        <a:xfrm>
          <a:off x="0" y="4138160"/>
          <a:ext cx="6666833" cy="1272960"/>
        </a:xfrm>
        <a:prstGeom prst="roundRect">
          <a:avLst/>
        </a:prstGeom>
        <a:gradFill rotWithShape="0">
          <a:gsLst>
            <a:gs pos="0">
              <a:schemeClr val="accent5">
                <a:hueOff val="-9132837"/>
                <a:satOff val="-52095"/>
                <a:lumOff val="-21176"/>
                <a:alphaOff val="0"/>
                <a:satMod val="103000"/>
                <a:lumMod val="102000"/>
                <a:tint val="94000"/>
              </a:schemeClr>
            </a:gs>
            <a:gs pos="50000">
              <a:schemeClr val="accent5">
                <a:hueOff val="-9132837"/>
                <a:satOff val="-52095"/>
                <a:lumOff val="-21176"/>
                <a:alphaOff val="0"/>
                <a:satMod val="110000"/>
                <a:lumMod val="100000"/>
                <a:shade val="100000"/>
              </a:schemeClr>
            </a:gs>
            <a:gs pos="100000">
              <a:schemeClr val="accent5">
                <a:hueOff val="-9132837"/>
                <a:satOff val="-52095"/>
                <a:lumOff val="-2117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solidFill>
                <a:schemeClr val="accent1"/>
              </a:solidFill>
            </a:rPr>
            <a:t>Active Listening tools </a:t>
          </a:r>
        </a:p>
      </dsp:txBody>
      <dsp:txXfrm>
        <a:off x="62141" y="4200301"/>
        <a:ext cx="6542551" cy="114867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16484E-4B9E-49CE-A417-7D7449F035A3}">
      <dsp:nvSpPr>
        <dsp:cNvPr id="0" name=""/>
        <dsp:cNvSpPr/>
      </dsp:nvSpPr>
      <dsp:spPr>
        <a:xfrm>
          <a:off x="0" y="668929"/>
          <a:ext cx="6666833" cy="62361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latin typeface="Calibri" panose="020F0502020204030204"/>
            </a:rPr>
            <a:t>Birth Place Lab Decision Making Tool</a:t>
          </a:r>
        </a:p>
      </dsp:txBody>
      <dsp:txXfrm>
        <a:off x="30442" y="699371"/>
        <a:ext cx="6605949" cy="562726"/>
      </dsp:txXfrm>
    </dsp:sp>
    <dsp:sp modelId="{5D09499A-FD44-4743-B9A3-5ED339B8FBE3}">
      <dsp:nvSpPr>
        <dsp:cNvPr id="0" name=""/>
        <dsp:cNvSpPr/>
      </dsp:nvSpPr>
      <dsp:spPr>
        <a:xfrm>
          <a:off x="0" y="1367419"/>
          <a:ext cx="6666833" cy="623610"/>
        </a:xfrm>
        <a:prstGeom prst="roundRect">
          <a:avLst/>
        </a:prstGeom>
        <a:gradFill rotWithShape="0">
          <a:gsLst>
            <a:gs pos="0">
              <a:schemeClr val="accent5">
                <a:hueOff val="-1826567"/>
                <a:satOff val="-10419"/>
                <a:lumOff val="-4235"/>
                <a:alphaOff val="0"/>
                <a:satMod val="103000"/>
                <a:lumMod val="102000"/>
                <a:tint val="94000"/>
              </a:schemeClr>
            </a:gs>
            <a:gs pos="50000">
              <a:schemeClr val="accent5">
                <a:hueOff val="-1826567"/>
                <a:satOff val="-10419"/>
                <a:lumOff val="-4235"/>
                <a:alphaOff val="0"/>
                <a:satMod val="110000"/>
                <a:lumMod val="100000"/>
                <a:shade val="100000"/>
              </a:schemeClr>
            </a:gs>
            <a:gs pos="100000">
              <a:schemeClr val="accent5">
                <a:hueOff val="-1826567"/>
                <a:satOff val="-10419"/>
                <a:lumOff val="-423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latin typeface="Calibri" panose="020F0502020204030204"/>
            </a:rPr>
            <a:t>CMQCC SHARE Model</a:t>
          </a:r>
        </a:p>
      </dsp:txBody>
      <dsp:txXfrm>
        <a:off x="30442" y="1397861"/>
        <a:ext cx="6605949" cy="562726"/>
      </dsp:txXfrm>
    </dsp:sp>
    <dsp:sp modelId="{36E8DE92-0E40-49A0-82FF-2FB398F0E873}">
      <dsp:nvSpPr>
        <dsp:cNvPr id="0" name=""/>
        <dsp:cNvSpPr/>
      </dsp:nvSpPr>
      <dsp:spPr>
        <a:xfrm>
          <a:off x="0" y="2065909"/>
          <a:ext cx="6666833" cy="623610"/>
        </a:xfrm>
        <a:prstGeom prst="roundRect">
          <a:avLst/>
        </a:prstGeom>
        <a:gradFill rotWithShape="0">
          <a:gsLst>
            <a:gs pos="0">
              <a:schemeClr val="accent5">
                <a:hueOff val="-3653135"/>
                <a:satOff val="-20838"/>
                <a:lumOff val="-8470"/>
                <a:alphaOff val="0"/>
                <a:satMod val="103000"/>
                <a:lumMod val="102000"/>
                <a:tint val="94000"/>
              </a:schemeClr>
            </a:gs>
            <a:gs pos="50000">
              <a:schemeClr val="accent5">
                <a:hueOff val="-3653135"/>
                <a:satOff val="-20838"/>
                <a:lumOff val="-8470"/>
                <a:alphaOff val="0"/>
                <a:satMod val="110000"/>
                <a:lumMod val="100000"/>
                <a:shade val="100000"/>
              </a:schemeClr>
            </a:gs>
            <a:gs pos="100000">
              <a:schemeClr val="accent5">
                <a:hueOff val="-3653135"/>
                <a:satOff val="-20838"/>
                <a:lumOff val="-847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latin typeface="Calibri" panose="020F0502020204030204"/>
            </a:rPr>
            <a:t>AHRQ SHARE Approach</a:t>
          </a:r>
          <a:endParaRPr lang="en-US" sz="2600" kern="1200" dirty="0">
            <a:solidFill>
              <a:schemeClr val="bg1"/>
            </a:solidFill>
            <a:latin typeface="Calibri" panose="020F0502020204030204"/>
          </a:endParaRPr>
        </a:p>
      </dsp:txBody>
      <dsp:txXfrm>
        <a:off x="30442" y="2096351"/>
        <a:ext cx="6605949" cy="562726"/>
      </dsp:txXfrm>
    </dsp:sp>
    <dsp:sp modelId="{59B9E0DA-0367-410B-A64C-C9073B4CAC79}">
      <dsp:nvSpPr>
        <dsp:cNvPr id="0" name=""/>
        <dsp:cNvSpPr/>
      </dsp:nvSpPr>
      <dsp:spPr>
        <a:xfrm>
          <a:off x="0" y="2764400"/>
          <a:ext cx="6666833" cy="623610"/>
        </a:xfrm>
        <a:prstGeom prst="roundRect">
          <a:avLst/>
        </a:prstGeom>
        <a:gradFill rotWithShape="0">
          <a:gsLst>
            <a:gs pos="0">
              <a:schemeClr val="accent5">
                <a:hueOff val="-5479702"/>
                <a:satOff val="-31257"/>
                <a:lumOff val="-12706"/>
                <a:alphaOff val="0"/>
                <a:satMod val="103000"/>
                <a:lumMod val="102000"/>
                <a:tint val="94000"/>
              </a:schemeClr>
            </a:gs>
            <a:gs pos="50000">
              <a:schemeClr val="accent5">
                <a:hueOff val="-5479702"/>
                <a:satOff val="-31257"/>
                <a:lumOff val="-12706"/>
                <a:alphaOff val="0"/>
                <a:satMod val="110000"/>
                <a:lumMod val="100000"/>
                <a:shade val="100000"/>
              </a:schemeClr>
            </a:gs>
            <a:gs pos="100000">
              <a:schemeClr val="accent5">
                <a:hueOff val="-5479702"/>
                <a:satOff val="-31257"/>
                <a:lumOff val="-12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a:latin typeface="Calibri" panose="020F0502020204030204"/>
            </a:rPr>
            <a:t>Sparrow</a:t>
          </a:r>
          <a:r>
            <a:rPr lang="en-US" sz="2600" kern="1200">
              <a:solidFill>
                <a:schemeClr val="bg1"/>
              </a:solidFill>
              <a:latin typeface="Calibri" panose="020F0502020204030204"/>
            </a:rPr>
            <a:t> </a:t>
          </a:r>
          <a:r>
            <a:rPr lang="en-US" sz="2600" kern="1200" dirty="0">
              <a:solidFill>
                <a:schemeClr val="bg1"/>
              </a:solidFill>
              <a:latin typeface="Calibri" panose="020F0502020204030204"/>
            </a:rPr>
            <a:t>Health Labor Partnership Agreement </a:t>
          </a:r>
        </a:p>
      </dsp:txBody>
      <dsp:txXfrm>
        <a:off x="30442" y="2794842"/>
        <a:ext cx="6605949" cy="562726"/>
      </dsp:txXfrm>
    </dsp:sp>
    <dsp:sp modelId="{09051385-436C-4EDC-BBDD-AF71DCF25480}">
      <dsp:nvSpPr>
        <dsp:cNvPr id="0" name=""/>
        <dsp:cNvSpPr/>
      </dsp:nvSpPr>
      <dsp:spPr>
        <a:xfrm>
          <a:off x="0" y="3462890"/>
          <a:ext cx="6666833" cy="623610"/>
        </a:xfrm>
        <a:prstGeom prst="roundRect">
          <a:avLst/>
        </a:prstGeom>
        <a:gradFill rotWithShape="0">
          <a:gsLst>
            <a:gs pos="0">
              <a:schemeClr val="accent5">
                <a:hueOff val="-7306269"/>
                <a:satOff val="-41676"/>
                <a:lumOff val="-16941"/>
                <a:alphaOff val="0"/>
                <a:satMod val="103000"/>
                <a:lumMod val="102000"/>
                <a:tint val="94000"/>
              </a:schemeClr>
            </a:gs>
            <a:gs pos="50000">
              <a:schemeClr val="accent5">
                <a:hueOff val="-7306269"/>
                <a:satOff val="-41676"/>
                <a:lumOff val="-16941"/>
                <a:alphaOff val="0"/>
                <a:satMod val="110000"/>
                <a:lumMod val="100000"/>
                <a:shade val="100000"/>
              </a:schemeClr>
            </a:gs>
            <a:gs pos="100000">
              <a:schemeClr val="accent5">
                <a:hueOff val="-7306269"/>
                <a:satOff val="-41676"/>
                <a:lumOff val="-1694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b="0" i="0" kern="1200" dirty="0" err="1">
              <a:latin typeface="Calibri" panose="020F0502020204030204"/>
            </a:rPr>
            <a:t>TeamBirth</a:t>
          </a:r>
          <a:r>
            <a:rPr lang="en-US" sz="2600" kern="1200" dirty="0">
              <a:latin typeface="Calibri" panose="020F0502020204030204"/>
            </a:rPr>
            <a:t> Labor and Delivery Planning Board</a:t>
          </a:r>
        </a:p>
      </dsp:txBody>
      <dsp:txXfrm>
        <a:off x="30442" y="3493332"/>
        <a:ext cx="6605949" cy="562726"/>
      </dsp:txXfrm>
    </dsp:sp>
    <dsp:sp modelId="{E85CAB4D-3008-4438-B4B7-66D5CC778B0B}">
      <dsp:nvSpPr>
        <dsp:cNvPr id="0" name=""/>
        <dsp:cNvSpPr/>
      </dsp:nvSpPr>
      <dsp:spPr>
        <a:xfrm>
          <a:off x="0" y="4161380"/>
          <a:ext cx="6666833" cy="623610"/>
        </a:xfrm>
        <a:prstGeom prst="roundRect">
          <a:avLst/>
        </a:prstGeom>
        <a:gradFill rotWithShape="0">
          <a:gsLst>
            <a:gs pos="0">
              <a:schemeClr val="accent5">
                <a:hueOff val="-9132837"/>
                <a:satOff val="-52095"/>
                <a:lumOff val="-21176"/>
                <a:alphaOff val="0"/>
                <a:satMod val="103000"/>
                <a:lumMod val="102000"/>
                <a:tint val="94000"/>
              </a:schemeClr>
            </a:gs>
            <a:gs pos="50000">
              <a:schemeClr val="accent5">
                <a:hueOff val="-9132837"/>
                <a:satOff val="-52095"/>
                <a:lumOff val="-21176"/>
                <a:alphaOff val="0"/>
                <a:satMod val="110000"/>
                <a:lumMod val="100000"/>
                <a:shade val="100000"/>
              </a:schemeClr>
            </a:gs>
            <a:gs pos="100000">
              <a:schemeClr val="accent5">
                <a:hueOff val="-9132837"/>
                <a:satOff val="-52095"/>
                <a:lumOff val="-2117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solidFill>
                <a:schemeClr val="bg1"/>
              </a:solidFill>
              <a:latin typeface="Calibri" panose="020F0502020204030204"/>
            </a:rPr>
            <a:t>Additional Patient Education Resources</a:t>
          </a:r>
          <a:endParaRPr lang="en-US" sz="2600" kern="1200" dirty="0">
            <a:solidFill>
              <a:schemeClr val="bg1"/>
            </a:solidFill>
          </a:endParaRPr>
        </a:p>
      </dsp:txBody>
      <dsp:txXfrm>
        <a:off x="30442" y="4191822"/>
        <a:ext cx="6605949" cy="56272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4B1CA3-FB07-48BB-92D5-0978EBE75D2B}">
      <dsp:nvSpPr>
        <dsp:cNvPr id="0" name=""/>
        <dsp:cNvSpPr/>
      </dsp:nvSpPr>
      <dsp:spPr>
        <a:xfrm>
          <a:off x="0" y="42799"/>
          <a:ext cx="6666833" cy="1272960"/>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0" i="0" kern="1200" dirty="0">
              <a:solidFill>
                <a:schemeClr val="accent1"/>
              </a:solidFill>
            </a:rPr>
            <a:t>AWHONN Respectful Maternity Care Guideline &amp; Implementation Toolkit</a:t>
          </a:r>
          <a:endParaRPr lang="en-US" sz="3200" kern="1200" dirty="0">
            <a:solidFill>
              <a:schemeClr val="accent1"/>
            </a:solidFill>
          </a:endParaRPr>
        </a:p>
      </dsp:txBody>
      <dsp:txXfrm>
        <a:off x="62141" y="104940"/>
        <a:ext cx="6542551" cy="1148678"/>
      </dsp:txXfrm>
    </dsp:sp>
    <dsp:sp modelId="{2073D87A-ECBC-4D60-BA0B-C66E2E517A68}">
      <dsp:nvSpPr>
        <dsp:cNvPr id="0" name=""/>
        <dsp:cNvSpPr/>
      </dsp:nvSpPr>
      <dsp:spPr>
        <a:xfrm>
          <a:off x="0" y="1407919"/>
          <a:ext cx="6666833" cy="1272960"/>
        </a:xfrm>
        <a:prstGeom prst="roundRect">
          <a:avLst/>
        </a:prstGeom>
        <a:gradFill rotWithShape="0">
          <a:gsLst>
            <a:gs pos="0">
              <a:schemeClr val="accent5">
                <a:hueOff val="-3044279"/>
                <a:satOff val="-17365"/>
                <a:lumOff val="-7059"/>
                <a:alphaOff val="0"/>
                <a:satMod val="103000"/>
                <a:lumMod val="102000"/>
                <a:tint val="94000"/>
              </a:schemeClr>
            </a:gs>
            <a:gs pos="50000">
              <a:schemeClr val="accent5">
                <a:hueOff val="-3044279"/>
                <a:satOff val="-17365"/>
                <a:lumOff val="-7059"/>
                <a:alphaOff val="0"/>
                <a:satMod val="110000"/>
                <a:lumMod val="100000"/>
                <a:shade val="100000"/>
              </a:schemeClr>
            </a:gs>
            <a:gs pos="100000">
              <a:schemeClr val="accent5">
                <a:hueOff val="-3044279"/>
                <a:satOff val="-17365"/>
                <a:lumOff val="-705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0" i="0" kern="1200" dirty="0">
              <a:solidFill>
                <a:schemeClr val="accent1"/>
              </a:solidFill>
            </a:rPr>
            <a:t>ACOG Respectful Care </a:t>
          </a:r>
          <a:r>
            <a:rPr lang="en-US" sz="3200" b="0" i="0" kern="1200" dirty="0" err="1">
              <a:solidFill>
                <a:schemeClr val="accent1"/>
              </a:solidFill>
            </a:rPr>
            <a:t>eModules</a:t>
          </a:r>
          <a:endParaRPr lang="en-US" sz="3200" kern="1200" dirty="0">
            <a:solidFill>
              <a:schemeClr val="accent1"/>
            </a:solidFill>
          </a:endParaRPr>
        </a:p>
      </dsp:txBody>
      <dsp:txXfrm>
        <a:off x="62141" y="1470060"/>
        <a:ext cx="6542551" cy="1148678"/>
      </dsp:txXfrm>
    </dsp:sp>
    <dsp:sp modelId="{EA32BC01-942F-4AB1-9077-839ADF777702}">
      <dsp:nvSpPr>
        <dsp:cNvPr id="0" name=""/>
        <dsp:cNvSpPr/>
      </dsp:nvSpPr>
      <dsp:spPr>
        <a:xfrm>
          <a:off x="0" y="2773040"/>
          <a:ext cx="6666833" cy="1272960"/>
        </a:xfrm>
        <a:prstGeom prst="roundRect">
          <a:avLst/>
        </a:prstGeom>
        <a:gradFill rotWithShape="0">
          <a:gsLst>
            <a:gs pos="0">
              <a:schemeClr val="accent5">
                <a:hueOff val="-6088558"/>
                <a:satOff val="-34730"/>
                <a:lumOff val="-14117"/>
                <a:alphaOff val="0"/>
                <a:satMod val="103000"/>
                <a:lumMod val="102000"/>
                <a:tint val="94000"/>
              </a:schemeClr>
            </a:gs>
            <a:gs pos="50000">
              <a:schemeClr val="accent5">
                <a:hueOff val="-6088558"/>
                <a:satOff val="-34730"/>
                <a:lumOff val="-14117"/>
                <a:alphaOff val="0"/>
                <a:satMod val="110000"/>
                <a:lumMod val="100000"/>
                <a:shade val="100000"/>
              </a:schemeClr>
            </a:gs>
            <a:gs pos="100000">
              <a:schemeClr val="accent5">
                <a:hueOff val="-6088558"/>
                <a:satOff val="-34730"/>
                <a:lumOff val="-14117"/>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rtl="0">
            <a:lnSpc>
              <a:spcPct val="90000"/>
            </a:lnSpc>
            <a:spcBef>
              <a:spcPct val="0"/>
            </a:spcBef>
            <a:spcAft>
              <a:spcPct val="35000"/>
            </a:spcAft>
            <a:buNone/>
          </a:pPr>
          <a:r>
            <a:rPr lang="en-US" sz="3200" kern="1200" dirty="0">
              <a:solidFill>
                <a:schemeClr val="accent1"/>
              </a:solidFill>
              <a:latin typeface="Calibri" panose="020F0502020204030204"/>
            </a:rPr>
            <a:t>Doula Engagement</a:t>
          </a:r>
          <a:endParaRPr lang="en-US" sz="3200" kern="1200" dirty="0">
            <a:solidFill>
              <a:schemeClr val="accent1"/>
            </a:solidFill>
          </a:endParaRPr>
        </a:p>
      </dsp:txBody>
      <dsp:txXfrm>
        <a:off x="62141" y="2835181"/>
        <a:ext cx="6542551" cy="1148678"/>
      </dsp:txXfrm>
    </dsp:sp>
    <dsp:sp modelId="{54423526-6B9A-4270-96FF-E6E313E45077}">
      <dsp:nvSpPr>
        <dsp:cNvPr id="0" name=""/>
        <dsp:cNvSpPr/>
      </dsp:nvSpPr>
      <dsp:spPr>
        <a:xfrm>
          <a:off x="0" y="4138160"/>
          <a:ext cx="6666833" cy="1272960"/>
        </a:xfrm>
        <a:prstGeom prst="roundRect">
          <a:avLst/>
        </a:prstGeom>
        <a:gradFill rotWithShape="0">
          <a:gsLst>
            <a:gs pos="0">
              <a:schemeClr val="accent5">
                <a:hueOff val="-9132837"/>
                <a:satOff val="-52095"/>
                <a:lumOff val="-21176"/>
                <a:alphaOff val="0"/>
                <a:satMod val="103000"/>
                <a:lumMod val="102000"/>
                <a:tint val="94000"/>
              </a:schemeClr>
            </a:gs>
            <a:gs pos="50000">
              <a:schemeClr val="accent5">
                <a:hueOff val="-9132837"/>
                <a:satOff val="-52095"/>
                <a:lumOff val="-21176"/>
                <a:alphaOff val="0"/>
                <a:satMod val="110000"/>
                <a:lumMod val="100000"/>
                <a:shade val="100000"/>
              </a:schemeClr>
            </a:gs>
            <a:gs pos="100000">
              <a:schemeClr val="accent5">
                <a:hueOff val="-9132837"/>
                <a:satOff val="-52095"/>
                <a:lumOff val="-2117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b="0" i="0" kern="1200" dirty="0">
              <a:solidFill>
                <a:schemeClr val="accent1"/>
              </a:solidFill>
            </a:rPr>
            <a:t>PQI Speak Up Ambassador Course</a:t>
          </a:r>
          <a:endParaRPr lang="en-US" sz="3200" kern="1200" dirty="0">
            <a:solidFill>
              <a:schemeClr val="accent1"/>
            </a:solidFill>
          </a:endParaRPr>
        </a:p>
      </dsp:txBody>
      <dsp:txXfrm>
        <a:off x="62141" y="4200301"/>
        <a:ext cx="6542551" cy="114867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A77BBC-FE9B-4689-901C-91908CC1D7BD}">
      <dsp:nvSpPr>
        <dsp:cNvPr id="0" name=""/>
        <dsp:cNvSpPr/>
      </dsp:nvSpPr>
      <dsp:spPr>
        <a:xfrm>
          <a:off x="134291" y="612"/>
          <a:ext cx="4332795" cy="2751325"/>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91DB9ED-3888-400A-A8E3-0671CD1236BB}">
      <dsp:nvSpPr>
        <dsp:cNvPr id="0" name=""/>
        <dsp:cNvSpPr/>
      </dsp:nvSpPr>
      <dsp:spPr>
        <a:xfrm>
          <a:off x="615713" y="457963"/>
          <a:ext cx="4332795" cy="2751325"/>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i="0" kern="1200">
              <a:hlinkClick xmlns:r="http://schemas.openxmlformats.org/officeDocument/2006/relationships" r:id="rId1"/>
            </a:rPr>
            <a:t>CMQCC Webinar</a:t>
          </a:r>
          <a:r>
            <a:rPr lang="en-US" sz="2400" b="0" i="0" kern="1200"/>
            <a:t>: Integrating Midwives, Doulas, and Community-Based Birth Care</a:t>
          </a:r>
          <a:endParaRPr lang="en-US" sz="2400" kern="1200"/>
        </a:p>
      </dsp:txBody>
      <dsp:txXfrm>
        <a:off x="696297" y="538547"/>
        <a:ext cx="4171627" cy="2590157"/>
      </dsp:txXfrm>
    </dsp:sp>
    <dsp:sp modelId="{6EA8DD05-05A6-46D3-925C-643AE26A4685}">
      <dsp:nvSpPr>
        <dsp:cNvPr id="0" name=""/>
        <dsp:cNvSpPr/>
      </dsp:nvSpPr>
      <dsp:spPr>
        <a:xfrm>
          <a:off x="5429930" y="612"/>
          <a:ext cx="4332795" cy="2751325"/>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9BBACC-48C4-47F7-8DF3-959242CA7BDA}">
      <dsp:nvSpPr>
        <dsp:cNvPr id="0" name=""/>
        <dsp:cNvSpPr/>
      </dsp:nvSpPr>
      <dsp:spPr>
        <a:xfrm>
          <a:off x="5911352" y="457963"/>
          <a:ext cx="4332795" cy="2751325"/>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i="0" kern="1200">
              <a:hlinkClick xmlns:r="http://schemas.openxmlformats.org/officeDocument/2006/relationships" r:id="rId2"/>
            </a:rPr>
            <a:t>CMQCC Toolkit</a:t>
          </a:r>
          <a:r>
            <a:rPr lang="en-US" sz="2400" b="0" i="0" kern="1200"/>
            <a:t> to Support Vaginal Birth and Reduce Primary Cesareans </a:t>
          </a:r>
          <a:r>
            <a:rPr lang="en-US" sz="2400" b="1" i="0" kern="1200"/>
            <a:t>Index: PART V. THE NEXT STEP: Integrating Midwives, Doulas, and Community Based Care 80-107</a:t>
          </a:r>
          <a:endParaRPr lang="en-US" sz="2400" kern="1200"/>
        </a:p>
      </dsp:txBody>
      <dsp:txXfrm>
        <a:off x="5991936" y="538547"/>
        <a:ext cx="4171627" cy="259015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A5E448-234B-4AB8-933E-40DECDB67BC0}" type="datetimeFigureOut">
              <a:t>4/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25C9F0-2C80-47DF-A05F-1C371CC7B2F0}" type="slidenum">
              <a:t>‹#›</a:t>
            </a:fld>
            <a:endParaRPr lang="en-US"/>
          </a:p>
        </p:txBody>
      </p:sp>
    </p:spTree>
    <p:extLst>
      <p:ext uri="{BB962C8B-B14F-4D97-AF65-F5344CB8AC3E}">
        <p14:creationId xmlns:p14="http://schemas.microsoft.com/office/powerpoint/2010/main" val="37297993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acog.org/education-and-events/emodules/respectful-care" TargetMode="External"/><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ilpqc.org/ilpqc-2023-ob-neonatal-face-to-face-meeting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DC25C9F0-2C80-47DF-A05F-1C371CC7B2F0}" type="slidenum">
              <a:rPr lang="en-US"/>
              <a:t>1</a:t>
            </a:fld>
            <a:endParaRPr lang="en-US"/>
          </a:p>
        </p:txBody>
      </p:sp>
    </p:spTree>
    <p:extLst>
      <p:ext uri="{BB962C8B-B14F-4D97-AF65-F5344CB8AC3E}">
        <p14:creationId xmlns:p14="http://schemas.microsoft.com/office/powerpoint/2010/main" val="2342375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1</a:t>
            </a:fld>
            <a:endParaRPr lang="en-US"/>
          </a:p>
        </p:txBody>
      </p:sp>
    </p:spTree>
    <p:extLst>
      <p:ext uri="{BB962C8B-B14F-4D97-AF65-F5344CB8AC3E}">
        <p14:creationId xmlns:p14="http://schemas.microsoft.com/office/powerpoint/2010/main" val="31933098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EB6540EB-5334-4296-967C-10B4D905E33B}" type="slidenum">
              <a:rPr lang="en-US" smtClean="0"/>
              <a:t>23</a:t>
            </a:fld>
            <a:endParaRPr lang="en-US"/>
          </a:p>
        </p:txBody>
      </p:sp>
    </p:spTree>
    <p:extLst>
      <p:ext uri="{BB962C8B-B14F-4D97-AF65-F5344CB8AC3E}">
        <p14:creationId xmlns:p14="http://schemas.microsoft.com/office/powerpoint/2010/main" val="11011294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26CEC867-692B-4954-BAD2-14D58E14F61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7767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l" defTabSz="914400" rtl="0" eaLnBrk="1" fontAlgn="auto" latinLnBrk="0" hangingPunct="1">
              <a:lnSpc>
                <a:spcPct val="90000"/>
              </a:lnSpc>
              <a:spcBef>
                <a:spcPts val="1000"/>
              </a:spcBef>
              <a:spcAft>
                <a:spcPts val="0"/>
              </a:spcAft>
              <a:buClr>
                <a:srgbClr val="F5668F"/>
              </a:buClr>
              <a:buSzTx/>
              <a:tabLst/>
              <a:defRPr/>
            </a:pPr>
            <a:endParaRPr lang="en-US" sz="600" b="1" i="0" u="none" strike="noStrike" kern="1200" cap="none" spc="0" normalizeH="0" baseline="0" noProof="0" dirty="0">
              <a:ln>
                <a:noFill/>
              </a:ln>
              <a:solidFill>
                <a:srgbClr val="444C55"/>
              </a:solidFill>
              <a:effectLst/>
              <a:uLnTx/>
              <a:uFillTx/>
              <a:latin typeface="Arial" panose="020B0604020202020204"/>
              <a:cs typeface="Arial"/>
            </a:endParaRPr>
          </a:p>
          <a:p>
            <a:endParaRPr lang="en-US"/>
          </a:p>
        </p:txBody>
      </p:sp>
      <p:sp>
        <p:nvSpPr>
          <p:cNvPr id="4" name="Slide Number Placeholder 3"/>
          <p:cNvSpPr>
            <a:spLocks noGrp="1"/>
          </p:cNvSpPr>
          <p:nvPr>
            <p:ph type="sldNum" sz="quarter" idx="10"/>
          </p:nvPr>
        </p:nvSpPr>
        <p:spPr/>
        <p:txBody>
          <a:bodyPr/>
          <a:lstStyle/>
          <a:p>
            <a:fld id="{6D7CC341-821B-413D-A8A4-39E7464FF4B0}" type="slidenum">
              <a:rPr lang="en-US" smtClean="0"/>
              <a:t>33</a:t>
            </a:fld>
            <a:endParaRPr lang="en-US"/>
          </a:p>
        </p:txBody>
      </p:sp>
    </p:spTree>
    <p:extLst>
      <p:ext uri="{BB962C8B-B14F-4D97-AF65-F5344CB8AC3E}">
        <p14:creationId xmlns:p14="http://schemas.microsoft.com/office/powerpoint/2010/main" val="16579420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DC25C9F0-2C80-47DF-A05F-1C371CC7B2F0}" type="slidenum">
              <a:rPr lang="en-US" smtClean="0"/>
              <a:t>34</a:t>
            </a:fld>
            <a:endParaRPr lang="en-US"/>
          </a:p>
        </p:txBody>
      </p:sp>
    </p:spTree>
    <p:extLst>
      <p:ext uri="{BB962C8B-B14F-4D97-AF65-F5344CB8AC3E}">
        <p14:creationId xmlns:p14="http://schemas.microsoft.com/office/powerpoint/2010/main" val="31116105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6540EB-5334-4296-967C-10B4D905E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2044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DC671F-A704-47A7-AEC8-1AE8E10D274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58538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799399BA-D265-4DD5-B172-CF7BBEF04538}" type="slidenum">
              <a:rPr lang="en-US" altLang="en-US" smtClean="0"/>
              <a:pPr>
                <a:defRPr/>
              </a:pPr>
              <a:t>48</a:t>
            </a:fld>
            <a:endParaRPr lang="en-US" altLang="en-US"/>
          </a:p>
        </p:txBody>
      </p:sp>
    </p:spTree>
    <p:extLst>
      <p:ext uri="{BB962C8B-B14F-4D97-AF65-F5344CB8AC3E}">
        <p14:creationId xmlns:p14="http://schemas.microsoft.com/office/powerpoint/2010/main" val="1066299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6540EB-5334-4296-967C-10B4D905E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9428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b="1">
                <a:hlinkClick r:id="rId3"/>
              </a:rPr>
              <a:t>https://www.acog.org/education-and-events/emodules/respectful-care</a:t>
            </a:r>
            <a:endParaRPr lang="en-US">
              <a:cs typeface="Calibri" panose="020F0502020204030204"/>
            </a:endParaRPr>
          </a:p>
          <a:p>
            <a:pPr algn="ctr"/>
            <a:endParaRPr lang="en-US" b="1">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6540EB-5334-4296-967C-10B4D905E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7636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25C9F0-2C80-47DF-A05F-1C371CC7B2F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8235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D515655-C74F-9745-9FE2-56B3FBDB213A}" type="slidenum">
              <a:rPr lang="en-US" smtClean="0"/>
              <a:t>75</a:t>
            </a:fld>
            <a:endParaRPr lang="en-US"/>
          </a:p>
        </p:txBody>
      </p:sp>
    </p:spTree>
    <p:extLst>
      <p:ext uri="{BB962C8B-B14F-4D97-AF65-F5344CB8AC3E}">
        <p14:creationId xmlns:p14="http://schemas.microsoft.com/office/powerpoint/2010/main" val="10701636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DC25C9F0-2C80-47DF-A05F-1C371CC7B2F0}" type="slidenum">
              <a:rPr lang="en-US"/>
              <a:t>86</a:t>
            </a:fld>
            <a:endParaRPr lang="en-US"/>
          </a:p>
        </p:txBody>
      </p:sp>
    </p:spTree>
    <p:extLst>
      <p:ext uri="{BB962C8B-B14F-4D97-AF65-F5344CB8AC3E}">
        <p14:creationId xmlns:p14="http://schemas.microsoft.com/office/powerpoint/2010/main" val="24739928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5148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ILPQC 2023 OB &amp; Neonatal Face-to-Face Meetings – Illinois Perinatal Quality Collaborative</a:t>
            </a:r>
            <a:endParaRPr lang="en-US">
              <a:cs typeface="Calibri" panose="020F0502020204030204"/>
            </a:endParaRPr>
          </a:p>
          <a:p>
            <a:endParaRPr lang="en-US" dirty="0">
              <a:cs typeface="Calibri"/>
            </a:endParaRPr>
          </a:p>
        </p:txBody>
      </p:sp>
      <p:sp>
        <p:nvSpPr>
          <p:cNvPr id="4" name="Slide Number Placeholder 3"/>
          <p:cNvSpPr>
            <a:spLocks noGrp="1"/>
          </p:cNvSpPr>
          <p:nvPr>
            <p:ph type="sldNum" sz="quarter" idx="5"/>
          </p:nvPr>
        </p:nvSpPr>
        <p:spPr/>
        <p:txBody>
          <a:bodyPr/>
          <a:lstStyle/>
          <a:p>
            <a:fld id="{EB6540EB-5334-4296-967C-10B4D905E33B}" type="slidenum">
              <a:rPr lang="en-US" smtClean="0"/>
              <a:t>7</a:t>
            </a:fld>
            <a:endParaRPr lang="en-US"/>
          </a:p>
        </p:txBody>
      </p:sp>
    </p:spTree>
    <p:extLst>
      <p:ext uri="{BB962C8B-B14F-4D97-AF65-F5344CB8AC3E}">
        <p14:creationId xmlns:p14="http://schemas.microsoft.com/office/powerpoint/2010/main" val="3068478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3019969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511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7624075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862784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41313106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6523894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0.emf"/><Relationship Id="rId4" Type="http://schemas.openxmlformats.org/officeDocument/2006/relationships/oleObject" Target="../embeddings/oleObject2.bin"/></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 Id="rId4" Type="http://schemas.openxmlformats.org/officeDocument/2006/relationships/image" Target="../media/image37.jpe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8.emf"/><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0.xml"/><Relationship Id="rId4" Type="http://schemas.openxmlformats.org/officeDocument/2006/relationships/image" Target="../media/image11.svg"/></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0.xml"/><Relationship Id="rId1" Type="http://schemas.openxmlformats.org/officeDocument/2006/relationships/tags" Target="../tags/tag6.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33.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30.emf"/><Relationship Id="rId4" Type="http://schemas.openxmlformats.org/officeDocument/2006/relationships/oleObject" Target="../embeddings/oleObject5.bin"/></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0.xml"/><Relationship Id="rId4" Type="http://schemas.openxmlformats.org/officeDocument/2006/relationships/image" Target="../media/image11.svg"/></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0.xml"/><Relationship Id="rId4" Type="http://schemas.openxmlformats.org/officeDocument/2006/relationships/image" Target="../media/image4.svg"/></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0.xml"/><Relationship Id="rId4" Type="http://schemas.openxmlformats.org/officeDocument/2006/relationships/image" Target="../media/image11.svg"/></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png"/><Relationship Id="rId1" Type="http://schemas.openxmlformats.org/officeDocument/2006/relationships/slideMaster" Target="../slideMasters/slideMaster21.xml"/><Relationship Id="rId4" Type="http://schemas.openxmlformats.org/officeDocument/2006/relationships/image" Target="../media/image53.emf"/></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png"/><Relationship Id="rId1" Type="http://schemas.openxmlformats.org/officeDocument/2006/relationships/slideMaster" Target="../slideMasters/slideMaster21.xml"/><Relationship Id="rId4" Type="http://schemas.openxmlformats.org/officeDocument/2006/relationships/image" Target="../media/image53.emf"/></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6.png"/><Relationship Id="rId1" Type="http://schemas.openxmlformats.org/officeDocument/2006/relationships/slideMaster" Target="../slideMasters/slideMaster21.xml"/><Relationship Id="rId4" Type="http://schemas.openxmlformats.org/officeDocument/2006/relationships/image" Target="../media/image53.emf"/></Relationships>
</file>

<file path=ppt/slideLayouts/_rels/slideLayout527.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7.png"/><Relationship Id="rId1" Type="http://schemas.openxmlformats.org/officeDocument/2006/relationships/slideMaster" Target="../slideMasters/slideMaster21.xml"/><Relationship Id="rId4" Type="http://schemas.openxmlformats.org/officeDocument/2006/relationships/image" Target="../media/image53.emf"/></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8.png"/><Relationship Id="rId1" Type="http://schemas.openxmlformats.org/officeDocument/2006/relationships/slideMaster" Target="../slideMasters/slideMaster21.xml"/></Relationships>
</file>

<file path=ppt/slideLayouts/_rels/slideLayout52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9.png"/><Relationship Id="rId1" Type="http://schemas.openxmlformats.org/officeDocument/2006/relationships/slideMaster" Target="../slideMasters/slideMaster2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4.png"/><Relationship Id="rId1" Type="http://schemas.openxmlformats.org/officeDocument/2006/relationships/slideMaster" Target="../slideMasters/slideMaster21.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2.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2.xml"/></Relationships>
</file>

<file path=ppt/slideLayouts/_rels/slideLayout5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5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0.png"/><Relationship Id="rId1" Type="http://schemas.openxmlformats.org/officeDocument/2006/relationships/slideMaster" Target="../slideMasters/slideMaster22.xml"/><Relationship Id="rId4" Type="http://schemas.openxmlformats.org/officeDocument/2006/relationships/image" Target="../media/image61.png"/></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0.png"/><Relationship Id="rId1" Type="http://schemas.openxmlformats.org/officeDocument/2006/relationships/slideMaster" Target="../slideMasters/slideMaster22.xml"/><Relationship Id="rId4" Type="http://schemas.openxmlformats.org/officeDocument/2006/relationships/image" Target="../media/image61.png"/></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5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22.xml"/></Relationships>
</file>

<file path=ppt/slideLayouts/_rels/slideLayout54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3.png"/><Relationship Id="rId1" Type="http://schemas.openxmlformats.org/officeDocument/2006/relationships/slideMaster" Target="../slideMasters/slideMaster22.xml"/><Relationship Id="rId4" Type="http://schemas.openxmlformats.org/officeDocument/2006/relationships/image" Target="../media/image61.png"/></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2.xml"/></Relationships>
</file>

<file path=ppt/slideLayouts/_rels/slideLayout5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3.png"/><Relationship Id="rId1" Type="http://schemas.openxmlformats.org/officeDocument/2006/relationships/slideMaster" Target="../slideMasters/slideMaster22.xml"/><Relationship Id="rId4" Type="http://schemas.openxmlformats.org/officeDocument/2006/relationships/image" Target="../media/image61.png"/></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2.xml"/></Relationships>
</file>

<file path=ppt/slideLayouts/_rels/slideLayout54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3.png"/><Relationship Id="rId1" Type="http://schemas.openxmlformats.org/officeDocument/2006/relationships/slideMaster" Target="../slideMasters/slideMaster22.xml"/><Relationship Id="rId4" Type="http://schemas.openxmlformats.org/officeDocument/2006/relationships/image" Target="../media/image61.png"/></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2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3.xml"/><Relationship Id="rId4" Type="http://schemas.openxmlformats.org/officeDocument/2006/relationships/image" Target="../media/image3.svg"/></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3.xml"/><Relationship Id="rId4" Type="http://schemas.openxmlformats.org/officeDocument/2006/relationships/image" Target="../media/image3.svg"/></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3.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3.xml"/><Relationship Id="rId4" Type="http://schemas.openxmlformats.org/officeDocument/2006/relationships/image" Target="../media/image3.svg"/></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3.xml"/><Relationship Id="rId4" Type="http://schemas.openxmlformats.org/officeDocument/2006/relationships/image" Target="../media/image3.svg"/></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3.xml"/><Relationship Id="rId4" Type="http://schemas.openxmlformats.org/officeDocument/2006/relationships/image" Target="../media/image11.svg"/></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3.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3.xml"/><Relationship Id="rId4" Type="http://schemas.openxmlformats.org/officeDocument/2006/relationships/image" Target="../media/image3.svg"/></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3.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3.xml"/><Relationship Id="rId4" Type="http://schemas.openxmlformats.org/officeDocument/2006/relationships/image" Target="../media/image3.svg"/></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3.xml"/><Relationship Id="rId4" Type="http://schemas.openxmlformats.org/officeDocument/2006/relationships/image" Target="../media/image11.svg"/></Relationships>
</file>

<file path=ppt/slideLayouts/_rels/slideLayout6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3.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3.xml"/><Relationship Id="rId4" Type="http://schemas.openxmlformats.org/officeDocument/2006/relationships/image" Target="../media/image11.svg"/></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3.xml"/><Relationship Id="rId4" Type="http://schemas.openxmlformats.org/officeDocument/2006/relationships/image" Target="../media/image3.svg"/></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3.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3.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3.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3.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3.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3.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3.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3.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3.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3.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3.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3.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3.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3.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6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23.xml"/><Relationship Id="rId4" Type="http://schemas.openxmlformats.org/officeDocument/2006/relationships/image" Target="../media/image4.sv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3.xml"/></Relationships>
</file>

<file path=ppt/slideLayouts/_rels/slideLayout70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3.xml"/><Relationship Id="rId1" Type="http://schemas.openxmlformats.org/officeDocument/2006/relationships/tags" Target="../tags/tag9.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Layouts/_rels/slideLayout707.xml.rels><?xml version="1.0" encoding="UTF-8" standalone="yes"?>
<Relationships xmlns="http://schemas.openxmlformats.org/package/2006/relationships"><Relationship Id="rId3" Type="http://schemas.openxmlformats.org/officeDocument/2006/relationships/slideMaster" Target="../slideMasters/slideMaster23.xml"/><Relationship Id="rId7" Type="http://schemas.openxmlformats.org/officeDocument/2006/relationships/image" Target="../media/image33.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3.bin"/><Relationship Id="rId5" Type="http://schemas.openxmlformats.org/officeDocument/2006/relationships/image" Target="../media/image30.emf"/><Relationship Id="rId4" Type="http://schemas.openxmlformats.org/officeDocument/2006/relationships/oleObject" Target="../embeddings/oleObject2.bin"/></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3.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3.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23.xml"/><Relationship Id="rId1" Type="http://schemas.openxmlformats.org/officeDocument/2006/relationships/tags" Target="../tags/tag12.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4.xml"/><Relationship Id="rId4" Type="http://schemas.openxmlformats.org/officeDocument/2006/relationships/image" Target="../media/image3.svg"/></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4.xml"/></Relationships>
</file>

<file path=ppt/slideLayouts/_rels/slideLayout7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4.xml"/><Relationship Id="rId4" Type="http://schemas.openxmlformats.org/officeDocument/2006/relationships/image" Target="../media/image3.svg"/></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4.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4.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7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4.xml"/><Relationship Id="rId4" Type="http://schemas.openxmlformats.org/officeDocument/2006/relationships/image" Target="../media/image3.svg"/></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4.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4.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4.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4.xml"/><Relationship Id="rId4" Type="http://schemas.openxmlformats.org/officeDocument/2006/relationships/image" Target="../media/image3.sv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4.xml"/><Relationship Id="rId4" Type="http://schemas.openxmlformats.org/officeDocument/2006/relationships/image" Target="../media/image11.svg"/></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4.xml"/></Relationships>
</file>

<file path=ppt/slideLayouts/_rels/slideLayout8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4.xml"/><Relationship Id="rId4" Type="http://schemas.openxmlformats.org/officeDocument/2006/relationships/image" Target="../media/image3.svg"/></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4.xml"/></Relationships>
</file>

<file path=ppt/slideLayouts/_rels/slideLayout8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4.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4.xml"/><Relationship Id="rId4" Type="http://schemas.openxmlformats.org/officeDocument/2006/relationships/image" Target="../media/image3.svg"/></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4.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4.xml"/><Relationship Id="rId4" Type="http://schemas.openxmlformats.org/officeDocument/2006/relationships/image" Target="../media/image11.svg"/></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4.xml"/></Relationships>
</file>

<file path=ppt/slideLayouts/_rels/slideLayout8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4.xml"/></Relationships>
</file>

<file path=ppt/slideLayouts/_rels/slideLayout8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4.xml"/><Relationship Id="rId4" Type="http://schemas.openxmlformats.org/officeDocument/2006/relationships/image" Target="../media/image11.svg"/></Relationships>
</file>

<file path=ppt/slideLayouts/_rels/slideLayout8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4.xml"/><Relationship Id="rId4" Type="http://schemas.openxmlformats.org/officeDocument/2006/relationships/image" Target="../media/image3.svg"/></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4.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4.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4.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4.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4.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4.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4.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4.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4.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4.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4.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4.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4.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4.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4.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4.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4.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4.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24.xml"/><Relationship Id="rId4" Type="http://schemas.openxmlformats.org/officeDocument/2006/relationships/image" Target="../media/image4.svg"/></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4.xml"/></Relationships>
</file>

<file path=ppt/slideLayouts/_rels/slideLayout87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4.xml"/><Relationship Id="rId1" Type="http://schemas.openxmlformats.org/officeDocument/2006/relationships/tags" Target="../tags/tag13.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Layouts/_rels/slideLayout872.xml.rels><?xml version="1.0" encoding="UTF-8" standalone="yes"?>
<Relationships xmlns="http://schemas.openxmlformats.org/package/2006/relationships"><Relationship Id="rId3" Type="http://schemas.openxmlformats.org/officeDocument/2006/relationships/slideMaster" Target="../slideMasters/slideMaster24.xml"/><Relationship Id="rId7" Type="http://schemas.openxmlformats.org/officeDocument/2006/relationships/image" Target="../media/image33.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3.bin"/><Relationship Id="rId5" Type="http://schemas.openxmlformats.org/officeDocument/2006/relationships/image" Target="../media/image30.emf"/><Relationship Id="rId4" Type="http://schemas.openxmlformats.org/officeDocument/2006/relationships/oleObject" Target="../embeddings/oleObject2.bin"/></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4.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4.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Master" Target="../slideMasters/slideMaster24.xml"/><Relationship Id="rId1" Type="http://schemas.openxmlformats.org/officeDocument/2006/relationships/tags" Target="../tags/tag1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14456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43225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46377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53627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176758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2331471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91567343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4/1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4/1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82336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70518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4630298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5773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582903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11708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434352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51386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415610136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514387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4294437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12" name="Picture 11"/>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a:stretch/>
        </p:blipFill>
        <p:spPr>
          <a:xfrm>
            <a:off x="0" y="0"/>
            <a:ext cx="5032619" cy="4571662"/>
          </a:xfrm>
          <a:prstGeom prst="rect">
            <a:avLst/>
          </a:prstGeom>
        </p:spPr>
      </p:pic>
      <p:pic>
        <p:nvPicPr>
          <p:cNvPr id="14" name="Picture 13"/>
          <p:cNvPicPr>
            <a:picLocks noChangeAspect="1"/>
          </p:cNvPicPr>
          <p:nvPr userDrawn="1"/>
        </p:nvPicPr>
        <p:blipFill rotWithShape="1">
          <a:blip r:embed="rId3" cstate="email">
            <a:alphaModFix amt="11000"/>
            <a:extLst>
              <a:ext uri="{28A0092B-C50C-407E-A947-70E740481C1C}">
                <a14:useLocalDpi xmlns:a14="http://schemas.microsoft.com/office/drawing/2010/main"/>
              </a:ext>
            </a:extLst>
          </a:blip>
          <a:srcRect/>
          <a:stretch/>
        </p:blipFill>
        <p:spPr>
          <a:xfrm>
            <a:off x="0" y="4571662"/>
            <a:ext cx="5029200" cy="2286338"/>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lIns="82058" tIns="41029" rIns="82058" bIns="41029"/>
          <a:lstStyle>
            <a:lvl1pPr>
              <a:defRPr sz="3600">
                <a:solidFill>
                  <a:schemeClr val="bg1"/>
                </a:solidFill>
                <a:latin typeface="Arial" charset="0"/>
                <a:ea typeface="Arial" charset="0"/>
                <a:cs typeface="Arial" charset="0"/>
              </a:defRPr>
            </a:lvl1pPr>
          </a:lstStyle>
          <a:p>
            <a:r>
              <a:rPr lang="en-US"/>
              <a:t>Title of Presentation</a:t>
            </a:r>
          </a:p>
        </p:txBody>
      </p:sp>
      <p:sp>
        <p:nvSpPr>
          <p:cNvPr id="17" name="Content Placeholder 12"/>
          <p:cNvSpPr>
            <a:spLocks noGrp="1"/>
          </p:cNvSpPr>
          <p:nvPr>
            <p:ph sz="quarter" idx="10" hasCustomPrompt="1"/>
          </p:nvPr>
        </p:nvSpPr>
        <p:spPr>
          <a:xfrm>
            <a:off x="4241802" y="2448443"/>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a:t>Name of Presenter</a:t>
            </a:r>
          </a:p>
        </p:txBody>
      </p:sp>
      <p:sp>
        <p:nvSpPr>
          <p:cNvPr id="18" name="Content Placeholder 12"/>
          <p:cNvSpPr>
            <a:spLocks noGrp="1"/>
          </p:cNvSpPr>
          <p:nvPr>
            <p:ph sz="quarter" idx="11" hasCustomPrompt="1"/>
          </p:nvPr>
        </p:nvSpPr>
        <p:spPr>
          <a:xfrm>
            <a:off x="4241802" y="3048001"/>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a:t>Date</a:t>
            </a:r>
          </a:p>
        </p:txBody>
      </p:sp>
      <p:sp>
        <p:nvSpPr>
          <p:cNvPr id="9" name="Text Box 10"/>
          <p:cNvSpPr txBox="1">
            <a:spLocks noChangeArrowheads="1"/>
          </p:cNvSpPr>
          <p:nvPr userDrawn="1"/>
        </p:nvSpPr>
        <p:spPr bwMode="auto">
          <a:xfrm rot="5400000">
            <a:off x="-471557" y="6198821"/>
            <a:ext cx="1143170" cy="175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pPr>
            <a:r>
              <a:rPr lang="en-US" altLang="en-US" sz="600">
                <a:solidFill>
                  <a:schemeClr val="tx1">
                    <a:lumMod val="65000"/>
                    <a:lumOff val="35000"/>
                  </a:schemeClr>
                </a:solidFill>
              </a:rPr>
              <a:t>#2772</a:t>
            </a:r>
            <a:r>
              <a:rPr lang="en-US" altLang="en-US" sz="600" baseline="0">
                <a:solidFill>
                  <a:schemeClr val="tx1">
                    <a:lumMod val="65000"/>
                    <a:lumOff val="35000"/>
                  </a:schemeClr>
                </a:solidFill>
              </a:rPr>
              <a:t> </a:t>
            </a:r>
            <a:r>
              <a:rPr lang="en-US" altLang="en-US" sz="600">
                <a:solidFill>
                  <a:schemeClr val="tx1">
                    <a:lumMod val="65000"/>
                    <a:lumOff val="35000"/>
                  </a:schemeClr>
                </a:solidFill>
              </a:rPr>
              <a:t>Rev. 01/17</a:t>
            </a:r>
          </a:p>
        </p:txBody>
      </p:sp>
    </p:spTree>
    <p:extLst>
      <p:ext uri="{BB962C8B-B14F-4D97-AF65-F5344CB8AC3E}">
        <p14:creationId xmlns:p14="http://schemas.microsoft.com/office/powerpoint/2010/main" val="421011335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11455400" y="6267452"/>
            <a:ext cx="5588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a:p>
        </p:txBody>
      </p:sp>
      <p:sp>
        <p:nvSpPr>
          <p:cNvPr id="5" name="Rectangle 4"/>
          <p:cNvSpPr/>
          <p:nvPr userDrawn="1"/>
        </p:nvSpPr>
        <p:spPr>
          <a:xfrm>
            <a:off x="1"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0" name="Title 7"/>
          <p:cNvSpPr>
            <a:spLocks noGrp="1"/>
          </p:cNvSpPr>
          <p:nvPr>
            <p:ph type="title" hasCustomPrompt="1"/>
          </p:nvPr>
        </p:nvSpPr>
        <p:spPr>
          <a:xfrm>
            <a:off x="1460500" y="212727"/>
            <a:ext cx="105536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a:t>Title Goes Here</a:t>
            </a:r>
          </a:p>
        </p:txBody>
      </p:sp>
      <p:sp>
        <p:nvSpPr>
          <p:cNvPr id="12" name="Text Placeholder 11"/>
          <p:cNvSpPr>
            <a:spLocks noGrp="1"/>
          </p:cNvSpPr>
          <p:nvPr>
            <p:ph type="body" sz="quarter" idx="13" hasCustomPrompt="1"/>
          </p:nvPr>
        </p:nvSpPr>
        <p:spPr>
          <a:xfrm>
            <a:off x="1460499" y="1196975"/>
            <a:ext cx="10553700" cy="4735347"/>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a:solidFill>
                  <a:schemeClr val="bg1">
                    <a:lumMod val="65000"/>
                  </a:schemeClr>
                </a:solidFill>
                <a:latin typeface="Arial"/>
                <a:ea typeface="Gotham-Book" charset="0"/>
                <a:cs typeface="Arial"/>
              </a:rPr>
              <a:t>Body copy…</a:t>
            </a:r>
            <a:endParaRPr lang="en-US"/>
          </a:p>
        </p:txBody>
      </p:sp>
    </p:spTree>
    <p:extLst>
      <p:ext uri="{BB962C8B-B14F-4D97-AF65-F5344CB8AC3E}">
        <p14:creationId xmlns:p14="http://schemas.microsoft.com/office/powerpoint/2010/main" val="15955708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Body with object">
    <p:spTree>
      <p:nvGrpSpPr>
        <p:cNvPr id="1" name=""/>
        <p:cNvGrpSpPr/>
        <p:nvPr/>
      </p:nvGrpSpPr>
      <p:grpSpPr>
        <a:xfrm>
          <a:off x="0" y="0"/>
          <a:ext cx="0" cy="0"/>
          <a:chOff x="0" y="0"/>
          <a:chExt cx="0" cy="0"/>
        </a:xfrm>
      </p:grpSpPr>
      <p:sp>
        <p:nvSpPr>
          <p:cNvPr id="3" name="Rectangle 2"/>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6" name="Title 7"/>
          <p:cNvSpPr>
            <a:spLocks noGrp="1"/>
          </p:cNvSpPr>
          <p:nvPr>
            <p:ph type="title" hasCustomPrompt="1"/>
          </p:nvPr>
        </p:nvSpPr>
        <p:spPr>
          <a:xfrm>
            <a:off x="1446045" y="155577"/>
            <a:ext cx="9880600" cy="463549"/>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a:t>Title Goes Here</a:t>
            </a:r>
          </a:p>
        </p:txBody>
      </p:sp>
      <p:sp>
        <p:nvSpPr>
          <p:cNvPr id="7" name="Text Placeholder 11"/>
          <p:cNvSpPr>
            <a:spLocks noGrp="1"/>
          </p:cNvSpPr>
          <p:nvPr>
            <p:ph type="body" sz="quarter" idx="13" hasCustomPrompt="1"/>
          </p:nvPr>
        </p:nvSpPr>
        <p:spPr>
          <a:xfrm>
            <a:off x="1446045" y="882650"/>
            <a:ext cx="4851400" cy="4737101"/>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a:solidFill>
                  <a:schemeClr val="bg1">
                    <a:lumMod val="65000"/>
                  </a:schemeClr>
                </a:solidFill>
                <a:latin typeface="Arial"/>
                <a:ea typeface="Gotham-Book" charset="0"/>
                <a:cs typeface="Arial"/>
              </a:rPr>
              <a:t>Body copy…</a:t>
            </a:r>
            <a:endParaRPr lang="en-US"/>
          </a:p>
        </p:txBody>
      </p:sp>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a:p>
        </p:txBody>
      </p:sp>
      <p:sp>
        <p:nvSpPr>
          <p:cNvPr id="10" name="Chart Placeholder 9"/>
          <p:cNvSpPr>
            <a:spLocks noGrp="1"/>
          </p:cNvSpPr>
          <p:nvPr>
            <p:ph type="chart" sz="quarter" idx="14"/>
          </p:nvPr>
        </p:nvSpPr>
        <p:spPr>
          <a:xfrm>
            <a:off x="6591299" y="882650"/>
            <a:ext cx="4876800" cy="4737100"/>
          </a:xfrm>
          <a:prstGeom prst="rect">
            <a:avLst/>
          </a:prstGeom>
        </p:spPr>
        <p:txBody>
          <a:bodyPr lIns="82058" tIns="41029" rIns="82058" bIns="41029"/>
          <a:lstStyle>
            <a:lvl1pPr>
              <a:defRPr sz="2000">
                <a:solidFill>
                  <a:schemeClr val="bg1">
                    <a:lumMod val="50000"/>
                  </a:schemeClr>
                </a:solidFill>
                <a:latin typeface="Arial" charset="0"/>
                <a:ea typeface="Arial" charset="0"/>
                <a:cs typeface="Arial" charset="0"/>
              </a:defRPr>
            </a:lvl1pPr>
          </a:lstStyle>
          <a:p>
            <a:endParaRPr lang="en-US"/>
          </a:p>
        </p:txBody>
      </p:sp>
    </p:spTree>
    <p:extLst>
      <p:ext uri="{BB962C8B-B14F-4D97-AF65-F5344CB8AC3E}">
        <p14:creationId xmlns:p14="http://schemas.microsoft.com/office/powerpoint/2010/main" val="175600020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1473200" y="146051"/>
            <a:ext cx="103250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a:t>Title Goes Here</a:t>
            </a:r>
          </a:p>
        </p:txBody>
      </p:sp>
      <p:sp>
        <p:nvSpPr>
          <p:cNvPr id="4" name="Text Placeholder 11"/>
          <p:cNvSpPr>
            <a:spLocks noGrp="1"/>
          </p:cNvSpPr>
          <p:nvPr>
            <p:ph type="body" sz="quarter" idx="13" hasCustomPrompt="1"/>
          </p:nvPr>
        </p:nvSpPr>
        <p:spPr>
          <a:xfrm>
            <a:off x="1473199" y="1044575"/>
            <a:ext cx="10325100" cy="4594225"/>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a:solidFill>
                  <a:schemeClr val="bg1">
                    <a:lumMod val="65000"/>
                  </a:schemeClr>
                </a:solidFill>
                <a:latin typeface="Arial"/>
                <a:ea typeface="Gotham-Book" charset="0"/>
                <a:cs typeface="Arial"/>
              </a:rPr>
              <a:t>Body copy…</a:t>
            </a:r>
            <a:endParaRPr lang="en-US"/>
          </a:p>
        </p:txBody>
      </p:sp>
      <p:sp>
        <p:nvSpPr>
          <p:cNvPr id="5" name="Rectangle 4"/>
          <p:cNvSpPr/>
          <p:nvPr userDrawn="1"/>
        </p:nvSpPr>
        <p:spPr>
          <a:xfrm>
            <a:off x="1"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a:p>
        </p:txBody>
      </p:sp>
    </p:spTree>
    <p:extLst>
      <p:ext uri="{BB962C8B-B14F-4D97-AF65-F5344CB8AC3E}">
        <p14:creationId xmlns:p14="http://schemas.microsoft.com/office/powerpoint/2010/main" val="184562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l="6140" t="7021" b="21821"/>
          <a:stretch/>
        </p:blipFill>
        <p:spPr>
          <a:xfrm>
            <a:off x="0" y="0"/>
            <a:ext cx="5032619"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
        <p:nvSpPr>
          <p:cNvPr id="2" name="Title 1"/>
          <p:cNvSpPr>
            <a:spLocks noGrp="1"/>
          </p:cNvSpPr>
          <p:nvPr>
            <p:ph type="title" hasCustomPrompt="1"/>
          </p:nvPr>
        </p:nvSpPr>
        <p:spPr>
          <a:xfrm>
            <a:off x="3644901" y="2803527"/>
            <a:ext cx="8216900" cy="625475"/>
          </a:xfrm>
          <a:prstGeom prst="rect">
            <a:avLst/>
          </a:prstGeom>
        </p:spPr>
        <p:txBody>
          <a:bodyPr lIns="82058" tIns="41029" rIns="82058" bIns="41029"/>
          <a:lstStyle>
            <a:lvl1pPr>
              <a:defRPr sz="3200">
                <a:solidFill>
                  <a:schemeClr val="bg1"/>
                </a:solidFill>
                <a:latin typeface="Arial" charset="0"/>
                <a:ea typeface="Arial" charset="0"/>
                <a:cs typeface="Arial" charset="0"/>
              </a:defRPr>
            </a:lvl1pPr>
          </a:lstStyle>
          <a:p>
            <a:r>
              <a:rPr lang="en-US"/>
              <a:t>Page Divider Title</a:t>
            </a:r>
          </a:p>
        </p:txBody>
      </p:sp>
      <p:sp>
        <p:nvSpPr>
          <p:cNvPr id="6" name="Slide Number Placeholder 5"/>
          <p:cNvSpPr>
            <a:spLocks noGrp="1"/>
          </p:cNvSpPr>
          <p:nvPr>
            <p:ph type="sldNum" sz="quarter" idx="12"/>
          </p:nvPr>
        </p:nvSpPr>
        <p:spPr>
          <a:xfrm>
            <a:off x="11442699" y="6267452"/>
            <a:ext cx="571500" cy="365125"/>
          </a:xfrm>
          <a:prstGeom prst="rect">
            <a:avLst/>
          </a:prstGeom>
        </p:spPr>
        <p:txBody>
          <a:bodyPr lIns="82058" tIns="41029" rIns="82058" bIns="41029"/>
          <a:lstStyle>
            <a:lvl1pPr algn="r">
              <a:defRPr sz="1100">
                <a:solidFill>
                  <a:schemeClr val="bg1"/>
                </a:solidFill>
              </a:defRPr>
            </a:lvl1pPr>
          </a:lstStyle>
          <a:p>
            <a:fld id="{A3F93D58-E99C-2543-B3DD-EDAED2E6800B}" type="slidenum">
              <a:rPr lang="en-US" smtClean="0"/>
              <a:pPr/>
              <a:t>‹#›</a:t>
            </a:fld>
            <a:endParaRPr lang="en-US"/>
          </a:p>
        </p:txBody>
      </p:sp>
    </p:spTree>
    <p:extLst>
      <p:ext uri="{BB962C8B-B14F-4D97-AF65-F5344CB8AC3E}">
        <p14:creationId xmlns:p14="http://schemas.microsoft.com/office/powerpoint/2010/main" val="11864343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699"/>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sp>
        <p:nvSpPr>
          <p:cNvPr id="4" name="TextBox 3"/>
          <p:cNvSpPr txBox="1"/>
          <p:nvPr userDrawn="1"/>
        </p:nvSpPr>
        <p:spPr>
          <a:xfrm>
            <a:off x="0" y="2906497"/>
            <a:ext cx="12192000" cy="814703"/>
          </a:xfrm>
          <a:prstGeom prst="rect">
            <a:avLst/>
          </a:prstGeom>
          <a:noFill/>
        </p:spPr>
        <p:txBody>
          <a:bodyPr wrap="square" lIns="82058" tIns="41029" rIns="82058" bIns="41029" rtlCol="0">
            <a:spAutoFit/>
          </a:bodyPr>
          <a:lstStyle/>
          <a:p>
            <a:pPr algn="ctr"/>
            <a:r>
              <a:rPr lang="en-US" sz="4800" b="1">
                <a:solidFill>
                  <a:schemeClr val="bg1"/>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l="6140" t="7021" b="21821"/>
          <a:stretch/>
        </p:blipFill>
        <p:spPr>
          <a:xfrm>
            <a:off x="0" y="0"/>
            <a:ext cx="5032619" cy="6858000"/>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Tree>
    <p:extLst>
      <p:ext uri="{BB962C8B-B14F-4D97-AF65-F5344CB8AC3E}">
        <p14:creationId xmlns:p14="http://schemas.microsoft.com/office/powerpoint/2010/main" val="74868778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3664723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34270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07939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9599063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3" cy="2036762"/>
          </a:xfrm>
          <a:prstGeom prst="rect">
            <a:avLst/>
          </a:prstGeom>
        </p:spPr>
      </p:pic>
    </p:spTree>
    <p:extLst>
      <p:ext uri="{BB962C8B-B14F-4D97-AF65-F5344CB8AC3E}">
        <p14:creationId xmlns:p14="http://schemas.microsoft.com/office/powerpoint/2010/main" val="48054416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756227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260448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523069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4881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7"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2"/>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1"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96846582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86341120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7"/>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5"/>
            <a:ext cx="1945207" cy="879974"/>
          </a:xfrm>
          <a:prstGeom prst="rect">
            <a:avLst/>
          </a:prstGeom>
        </p:spPr>
      </p:pic>
    </p:spTree>
    <p:extLst>
      <p:ext uri="{BB962C8B-B14F-4D97-AF65-F5344CB8AC3E}">
        <p14:creationId xmlns:p14="http://schemas.microsoft.com/office/powerpoint/2010/main" val="128674454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4/1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353387136"/>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6732522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9847861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0828415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80949927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June 22, 2021</a:t>
            </a:r>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2286215"/>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June 22, 2021</a:t>
            </a:r>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482914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June 22, 2021</a:t>
            </a:r>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7138876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675114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0656193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9630985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71580525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Agen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7" y="1373188"/>
            <a:ext cx="10972800" cy="796925"/>
          </a:xfrm>
        </p:spPr>
        <p:txBody>
          <a:bodyPr>
            <a:noAutofit/>
          </a:bodyPr>
          <a:lstStyle>
            <a:lvl1pPr>
              <a:defRPr sz="4400" b="0">
                <a:solidFill>
                  <a:schemeClr val="accent1"/>
                </a:solidFill>
              </a:defRPr>
            </a:lvl1pPr>
          </a:lstStyle>
          <a:p>
            <a:r>
              <a:rPr lang="en-US"/>
              <a:t>Today’s Agenda</a:t>
            </a:r>
          </a:p>
        </p:txBody>
      </p:sp>
      <p:sp>
        <p:nvSpPr>
          <p:cNvPr id="9" name="Content Placeholder 8"/>
          <p:cNvSpPr>
            <a:spLocks noGrp="1"/>
          </p:cNvSpPr>
          <p:nvPr>
            <p:ph sz="quarter" idx="12"/>
          </p:nvPr>
        </p:nvSpPr>
        <p:spPr>
          <a:xfrm>
            <a:off x="609600" y="2286000"/>
            <a:ext cx="10972800" cy="3657600"/>
          </a:xfrm>
        </p:spPr>
        <p:txBody>
          <a:bodyPr>
            <a:noAutofit/>
          </a:bodyPr>
          <a:lstStyle>
            <a:lvl1pPr marL="342891" indent="-342891">
              <a:buFont typeface="+mj-lt"/>
              <a:buAutoNum type="arabicPeriod"/>
              <a:defRPr sz="2800" baseline="0">
                <a:solidFill>
                  <a:schemeClr val="accent1"/>
                </a:solidFill>
              </a:defRPr>
            </a:lvl1pPr>
            <a:lvl2pPr marL="628635" indent="-284156">
              <a:buFont typeface="Arial" panose="020B0604020202020204" pitchFamily="34" charset="0"/>
              <a:buChar char="•"/>
              <a:defRPr sz="2800">
                <a:solidFill>
                  <a:schemeClr val="accent1"/>
                </a:solidFill>
              </a:defRPr>
            </a:lvl2pPr>
            <a:lvl3pPr marL="630920" indent="-283457">
              <a:buFont typeface="Arial" panose="020B0604020202020204" pitchFamily="34" charset="0"/>
              <a:buChar char="•"/>
              <a:defRPr sz="2800">
                <a:solidFill>
                  <a:schemeClr val="accent1"/>
                </a:solidFill>
              </a:defRPr>
            </a:lvl3pPr>
            <a:lvl4pPr marL="630920" indent="-283457">
              <a:buFont typeface="Arial" panose="020B0604020202020204" pitchFamily="34" charset="0"/>
              <a:buChar char="•"/>
              <a:defRPr sz="2800">
                <a:solidFill>
                  <a:srgbClr val="003CA5"/>
                </a:solidFill>
              </a:defRPr>
            </a:lvl4pPr>
            <a:lvl5pPr marL="630920" indent="-283457">
              <a:buFont typeface="Arial" panose="020B0604020202020204" pitchFamily="34" charset="0"/>
              <a:buChar char="•"/>
              <a:defRPr sz="2800">
                <a:solidFill>
                  <a:srgbClr val="003CA5"/>
                </a:solidFill>
              </a:defRPr>
            </a:lvl5pPr>
            <a:lvl6pPr marL="630920" indent="-283457">
              <a:buFont typeface="Arial" panose="020B0604020202020204" pitchFamily="34" charset="0"/>
              <a:buChar char="•"/>
              <a:defRPr sz="2800">
                <a:solidFill>
                  <a:schemeClr val="accent1"/>
                </a:solidFill>
              </a:defRPr>
            </a:lvl6pPr>
            <a:lvl7pPr marL="630920" indent="-283457">
              <a:buFont typeface="Arial" panose="020B0604020202020204" pitchFamily="34" charset="0"/>
              <a:buChar char="•"/>
              <a:defRPr sz="2800">
                <a:solidFill>
                  <a:srgbClr val="003CA5"/>
                </a:solidFill>
              </a:defRPr>
            </a:lvl7pPr>
            <a:lvl8pPr marL="630920" indent="-283457">
              <a:buFont typeface="Arial" panose="020B0604020202020204" pitchFamily="34" charset="0"/>
              <a:buChar char="•"/>
              <a:defRPr sz="2800">
                <a:solidFill>
                  <a:srgbClr val="003CA5"/>
                </a:solidFill>
              </a:defRPr>
            </a:lvl8pPr>
            <a:lvl9pPr marL="630920" indent="-283457">
              <a:buFont typeface="Arial" panose="020B0604020202020204" pitchFamily="34" charset="0"/>
              <a:buChar char="•"/>
              <a:defRPr sz="2800">
                <a:solidFill>
                  <a:srgbClr val="003CA5"/>
                </a:solidFill>
              </a:defRPr>
            </a:lvl9pPr>
          </a:lstStyle>
          <a:p>
            <a:pPr lvl="0"/>
            <a:r>
              <a:rPr lang="en-US"/>
              <a:t>Click to edit Master text styles</a:t>
            </a:r>
          </a:p>
          <a:p>
            <a:pPr lvl="1"/>
            <a:r>
              <a:rPr lang="en-US"/>
              <a:t>Second level</a:t>
            </a:r>
          </a:p>
        </p:txBody>
      </p:sp>
      <p:sp>
        <p:nvSpPr>
          <p:cNvPr id="4" name="Date Placeholder 3"/>
          <p:cNvSpPr>
            <a:spLocks noGrp="1"/>
          </p:cNvSpPr>
          <p:nvPr>
            <p:ph type="dt" sz="half" idx="13"/>
          </p:nvPr>
        </p:nvSpPr>
        <p:spPr/>
        <p:txBody>
          <a:bodyPr/>
          <a:lstStyle/>
          <a:p>
            <a:r>
              <a:rPr lang="en-US"/>
              <a:t>June 22, 2021</a:t>
            </a:r>
          </a:p>
        </p:txBody>
      </p:sp>
      <p:sp>
        <p:nvSpPr>
          <p:cNvPr id="5" name="Slide Number Placeholder 4"/>
          <p:cNvSpPr>
            <a:spLocks noGrp="1"/>
          </p:cNvSpPr>
          <p:nvPr>
            <p:ph type="sldNum" sz="quarter" idx="14"/>
          </p:nvPr>
        </p:nvSpPr>
        <p:spPr/>
        <p:txBody>
          <a:bodyPr/>
          <a:lstStyle/>
          <a:p>
            <a:fld id="{5E8BC936-0928-C346-B13E-04BD58031644}" type="slidenum">
              <a:rPr lang="en-US" smtClean="0"/>
              <a:pPr/>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106" y="6272785"/>
            <a:ext cx="3590167" cy="477033"/>
          </a:xfrm>
          <a:prstGeom prst="rect">
            <a:avLst/>
          </a:prstGeom>
        </p:spPr>
      </p:pic>
    </p:spTree>
    <p:extLst>
      <p:ext uri="{BB962C8B-B14F-4D97-AF65-F5344CB8AC3E}">
        <p14:creationId xmlns:p14="http://schemas.microsoft.com/office/powerpoint/2010/main" val="108386397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DE880CFC-3614-458D-ADDD-C87C25F4ABD7}"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094170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80CFC-3614-458D-ADDD-C87C25F4ABD7}"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355987528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880CFC-3614-458D-ADDD-C87C25F4ABD7}"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26442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79"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880CFC-3614-458D-ADDD-C87C25F4ABD7}" type="datetimeFigureOut">
              <a:rPr lang="en-US" smtClean="0"/>
              <a:t>4/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1294299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880CFC-3614-458D-ADDD-C87C25F4ABD7}" type="datetimeFigureOut">
              <a:rPr lang="en-US" smtClean="0"/>
              <a:t>4/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297292766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880CFC-3614-458D-ADDD-C87C25F4ABD7}" type="datetimeFigureOut">
              <a:rPr lang="en-US" smtClean="0"/>
              <a:t>4/1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410560607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DE880CFC-3614-458D-ADDD-C87C25F4ABD7}" type="datetimeFigureOut">
              <a:rPr lang="en-US" smtClean="0"/>
              <a:t>4/17/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287912645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DE880CFC-3614-458D-ADDD-C87C25F4ABD7}" type="datetimeFigureOut">
              <a:rPr lang="en-US" smtClean="0"/>
              <a:t>4/17/2023</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B9ECC7C7-EBC0-4845-A377-676DDC7A0A2C}" type="slidenum">
              <a:rPr lang="en-US" smtClean="0"/>
              <a:t>‹#›</a:t>
            </a:fld>
            <a:endParaRPr lang="en-US"/>
          </a:p>
        </p:txBody>
      </p:sp>
    </p:spTree>
    <p:extLst>
      <p:ext uri="{BB962C8B-B14F-4D97-AF65-F5344CB8AC3E}">
        <p14:creationId xmlns:p14="http://schemas.microsoft.com/office/powerpoint/2010/main" val="217453740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DE880CFC-3614-458D-ADDD-C87C25F4ABD7}" type="datetimeFigureOut">
              <a:rPr lang="en-US" smtClean="0"/>
              <a:t>4/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14372533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80CFC-3614-458D-ADDD-C87C25F4ABD7}"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248175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80CFC-3614-458D-ADDD-C87C25F4ABD7}"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274227086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blank" preserve="1">
  <p:cSld name="Content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41885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F5594-4950-DF43-91D7-18B4AFDB9D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D21EC4-A8E4-C74C-AA10-CDA0E07D9CCD}"/>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19A3013-C4B4-AC4E-86D5-CDDC82BD6181}"/>
              </a:ext>
            </a:extLst>
          </p:cNvPr>
          <p:cNvSpPr>
            <a:spLocks noGrp="1"/>
          </p:cNvSpPr>
          <p:nvPr>
            <p:ph type="dt" sz="half" idx="10"/>
          </p:nvPr>
        </p:nvSpPr>
        <p:spPr/>
        <p:txBody>
          <a:bodyPr/>
          <a:lstStyle/>
          <a:p>
            <a:fld id="{7E7F317A-9623-834F-AD4C-A55D5CB1DD51}" type="datetime1">
              <a:rPr lang="en-US" smtClean="0"/>
              <a:t>4/17/2023</a:t>
            </a:fld>
            <a:endParaRPr lang="en-US"/>
          </a:p>
        </p:txBody>
      </p:sp>
      <p:sp>
        <p:nvSpPr>
          <p:cNvPr id="5" name="Footer Placeholder 4">
            <a:extLst>
              <a:ext uri="{FF2B5EF4-FFF2-40B4-BE49-F238E27FC236}">
                <a16:creationId xmlns:a16="http://schemas.microsoft.com/office/drawing/2014/main" id="{EA5B2CFA-4F6B-DD4A-909B-065128007E35}"/>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050268F6-D79B-7B4B-B8A7-ECBCF64063B8}"/>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249405945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6F003-9F0C-5542-85D0-CA1B2B9911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EBF553-860B-144C-9597-8AE6EDA4ACE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E4CFA8-C187-4742-B0DF-30148A973562}"/>
              </a:ext>
            </a:extLst>
          </p:cNvPr>
          <p:cNvSpPr>
            <a:spLocks noGrp="1"/>
          </p:cNvSpPr>
          <p:nvPr>
            <p:ph type="dt" sz="half" idx="10"/>
          </p:nvPr>
        </p:nvSpPr>
        <p:spPr/>
        <p:txBody>
          <a:bodyPr/>
          <a:lstStyle/>
          <a:p>
            <a:fld id="{5E0E01EE-A609-EF4A-9F33-FC43B3D0B431}" type="datetime1">
              <a:rPr lang="en-US" smtClean="0"/>
              <a:t>4/17/2023</a:t>
            </a:fld>
            <a:endParaRPr lang="en-US"/>
          </a:p>
        </p:txBody>
      </p:sp>
      <p:sp>
        <p:nvSpPr>
          <p:cNvPr id="5" name="Footer Placeholder 4">
            <a:extLst>
              <a:ext uri="{FF2B5EF4-FFF2-40B4-BE49-F238E27FC236}">
                <a16:creationId xmlns:a16="http://schemas.microsoft.com/office/drawing/2014/main" id="{7D5C7F40-6116-8446-8C91-236964978264}"/>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9447054C-773A-3F45-8AAA-662EEA3F3CBC}"/>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9023360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9C30C-2DE9-274E-972C-DCD2D734140A}"/>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22BD81B-1021-0846-A7DF-B5D2619F710F}"/>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22F1A8-BC95-C543-9BF3-47403BF3B416}"/>
              </a:ext>
            </a:extLst>
          </p:cNvPr>
          <p:cNvSpPr>
            <a:spLocks noGrp="1"/>
          </p:cNvSpPr>
          <p:nvPr>
            <p:ph type="dt" sz="half" idx="10"/>
          </p:nvPr>
        </p:nvSpPr>
        <p:spPr/>
        <p:txBody>
          <a:bodyPr/>
          <a:lstStyle/>
          <a:p>
            <a:fld id="{B841E00D-E6D8-0740-8A4A-9935EAA48691}" type="datetime1">
              <a:rPr lang="en-US" smtClean="0"/>
              <a:t>4/17/2023</a:t>
            </a:fld>
            <a:endParaRPr lang="en-US"/>
          </a:p>
        </p:txBody>
      </p:sp>
      <p:sp>
        <p:nvSpPr>
          <p:cNvPr id="5" name="Footer Placeholder 4">
            <a:extLst>
              <a:ext uri="{FF2B5EF4-FFF2-40B4-BE49-F238E27FC236}">
                <a16:creationId xmlns:a16="http://schemas.microsoft.com/office/drawing/2014/main" id="{10FE8A4F-D743-B346-A344-003B3E6C7A88}"/>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A755C9E6-0C77-3D44-BE67-2087CC68C886}"/>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7388545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CAB21-EE66-9646-9F22-12822B90D0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D3280C-0569-9640-AB69-6D0346C3D9D5}"/>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1C67CF-B41D-9F41-8EF4-62BD42DB3DA0}"/>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836D5CC-5D11-2443-A184-55B0E0B1A7A7}"/>
              </a:ext>
            </a:extLst>
          </p:cNvPr>
          <p:cNvSpPr>
            <a:spLocks noGrp="1"/>
          </p:cNvSpPr>
          <p:nvPr>
            <p:ph type="dt" sz="half" idx="10"/>
          </p:nvPr>
        </p:nvSpPr>
        <p:spPr/>
        <p:txBody>
          <a:bodyPr/>
          <a:lstStyle/>
          <a:p>
            <a:fld id="{361B9804-01C3-2B4C-A3B4-EA944BD2CAF4}" type="datetime1">
              <a:rPr lang="en-US" smtClean="0"/>
              <a:t>4/17/2023</a:t>
            </a:fld>
            <a:endParaRPr lang="en-US"/>
          </a:p>
        </p:txBody>
      </p:sp>
      <p:sp>
        <p:nvSpPr>
          <p:cNvPr id="6" name="Footer Placeholder 5">
            <a:extLst>
              <a:ext uri="{FF2B5EF4-FFF2-40B4-BE49-F238E27FC236}">
                <a16:creationId xmlns:a16="http://schemas.microsoft.com/office/drawing/2014/main" id="{5F66C77D-0817-AF4B-9EB6-DE82EB532D7C}"/>
              </a:ext>
            </a:extLst>
          </p:cNvPr>
          <p:cNvSpPr>
            <a:spLocks noGrp="1"/>
          </p:cNvSpPr>
          <p:nvPr>
            <p:ph type="ftr" sz="quarter" idx="11"/>
          </p:nvPr>
        </p:nvSpPr>
        <p:spPr/>
        <p:txBody>
          <a:bodyPr/>
          <a:lstStyle/>
          <a:p>
            <a:r>
              <a:rPr lang="en-US"/>
              <a:t>NYS Birth Equity Improvement Project | Engaging Dads</a:t>
            </a:r>
          </a:p>
        </p:txBody>
      </p:sp>
      <p:sp>
        <p:nvSpPr>
          <p:cNvPr id="7" name="Slide Number Placeholder 6">
            <a:extLst>
              <a:ext uri="{FF2B5EF4-FFF2-40B4-BE49-F238E27FC236}">
                <a16:creationId xmlns:a16="http://schemas.microsoft.com/office/drawing/2014/main" id="{5585B6A5-9E43-E745-828E-A41B1DD56B86}"/>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172465448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DCE4E-1A39-144A-AFB5-661AB8E3896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031B445-AC3A-E94D-A5D7-E8CD737C7315}"/>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90FA74-2820-5F4D-9C07-8E6D9B298F06}"/>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ED14F0-5315-0541-96B6-D87D431A6E1F}"/>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3941F4-A30B-CC46-B110-EDDB437A7476}"/>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84803DB-BC44-5B40-9FA0-7ECCAF64E8BC}"/>
              </a:ext>
            </a:extLst>
          </p:cNvPr>
          <p:cNvSpPr>
            <a:spLocks noGrp="1"/>
          </p:cNvSpPr>
          <p:nvPr>
            <p:ph type="dt" sz="half" idx="10"/>
          </p:nvPr>
        </p:nvSpPr>
        <p:spPr/>
        <p:txBody>
          <a:bodyPr/>
          <a:lstStyle/>
          <a:p>
            <a:fld id="{57421309-4FDE-8D48-9B67-AD9F05D5F3C2}" type="datetime1">
              <a:rPr lang="en-US" smtClean="0"/>
              <a:t>4/17/2023</a:t>
            </a:fld>
            <a:endParaRPr lang="en-US"/>
          </a:p>
        </p:txBody>
      </p:sp>
      <p:sp>
        <p:nvSpPr>
          <p:cNvPr id="8" name="Footer Placeholder 7">
            <a:extLst>
              <a:ext uri="{FF2B5EF4-FFF2-40B4-BE49-F238E27FC236}">
                <a16:creationId xmlns:a16="http://schemas.microsoft.com/office/drawing/2014/main" id="{ACA99B3D-E323-7042-BFAA-D9C0AC0281F2}"/>
              </a:ext>
            </a:extLst>
          </p:cNvPr>
          <p:cNvSpPr>
            <a:spLocks noGrp="1"/>
          </p:cNvSpPr>
          <p:nvPr>
            <p:ph type="ftr" sz="quarter" idx="11"/>
          </p:nvPr>
        </p:nvSpPr>
        <p:spPr/>
        <p:txBody>
          <a:bodyPr/>
          <a:lstStyle/>
          <a:p>
            <a:r>
              <a:rPr lang="en-US"/>
              <a:t>NYS Birth Equity Improvement Project | Engaging Dads</a:t>
            </a:r>
          </a:p>
        </p:txBody>
      </p:sp>
      <p:sp>
        <p:nvSpPr>
          <p:cNvPr id="9" name="Slide Number Placeholder 8">
            <a:extLst>
              <a:ext uri="{FF2B5EF4-FFF2-40B4-BE49-F238E27FC236}">
                <a16:creationId xmlns:a16="http://schemas.microsoft.com/office/drawing/2014/main" id="{4E519D17-1F33-FE4A-80F3-55C4340C4135}"/>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255764665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5EB4E6-113A-AF46-B021-00022635CDF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1C35EE-4449-F047-972F-B022FC757841}"/>
              </a:ext>
            </a:extLst>
          </p:cNvPr>
          <p:cNvSpPr>
            <a:spLocks noGrp="1"/>
          </p:cNvSpPr>
          <p:nvPr>
            <p:ph type="dt" sz="half" idx="10"/>
          </p:nvPr>
        </p:nvSpPr>
        <p:spPr/>
        <p:txBody>
          <a:bodyPr/>
          <a:lstStyle/>
          <a:p>
            <a:fld id="{A1CBA73E-7A8B-B344-BEC7-D7BC33CC4AE7}" type="datetime1">
              <a:rPr lang="en-US" smtClean="0"/>
              <a:t>4/17/2023</a:t>
            </a:fld>
            <a:endParaRPr lang="en-US"/>
          </a:p>
        </p:txBody>
      </p:sp>
      <p:sp>
        <p:nvSpPr>
          <p:cNvPr id="4" name="Footer Placeholder 3">
            <a:extLst>
              <a:ext uri="{FF2B5EF4-FFF2-40B4-BE49-F238E27FC236}">
                <a16:creationId xmlns:a16="http://schemas.microsoft.com/office/drawing/2014/main" id="{9F614334-EE39-5A47-A1F0-6213AB527046}"/>
              </a:ext>
            </a:extLst>
          </p:cNvPr>
          <p:cNvSpPr>
            <a:spLocks noGrp="1"/>
          </p:cNvSpPr>
          <p:nvPr>
            <p:ph type="ftr" sz="quarter" idx="11"/>
          </p:nvPr>
        </p:nvSpPr>
        <p:spPr/>
        <p:txBody>
          <a:bodyPr/>
          <a:lstStyle/>
          <a:p>
            <a:r>
              <a:rPr lang="en-US"/>
              <a:t>NYS Birth Equity Improvement Project | Engaging Dads</a:t>
            </a:r>
          </a:p>
        </p:txBody>
      </p:sp>
      <p:sp>
        <p:nvSpPr>
          <p:cNvPr id="5" name="Slide Number Placeholder 4">
            <a:extLst>
              <a:ext uri="{FF2B5EF4-FFF2-40B4-BE49-F238E27FC236}">
                <a16:creationId xmlns:a16="http://schemas.microsoft.com/office/drawing/2014/main" id="{ED970CF1-2757-DD46-9B38-F8BEBA725A4A}"/>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330172082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47A162-5554-674B-AF27-F9FF2A805752}"/>
              </a:ext>
            </a:extLst>
          </p:cNvPr>
          <p:cNvSpPr>
            <a:spLocks noGrp="1"/>
          </p:cNvSpPr>
          <p:nvPr>
            <p:ph type="dt" sz="half" idx="10"/>
          </p:nvPr>
        </p:nvSpPr>
        <p:spPr/>
        <p:txBody>
          <a:bodyPr/>
          <a:lstStyle/>
          <a:p>
            <a:fld id="{4D3D33E0-60BA-5A4D-8C2B-87F0BB4B5AEE}" type="datetime1">
              <a:rPr lang="en-US" smtClean="0"/>
              <a:t>4/17/2023</a:t>
            </a:fld>
            <a:endParaRPr lang="en-US"/>
          </a:p>
        </p:txBody>
      </p:sp>
      <p:sp>
        <p:nvSpPr>
          <p:cNvPr id="3" name="Footer Placeholder 2">
            <a:extLst>
              <a:ext uri="{FF2B5EF4-FFF2-40B4-BE49-F238E27FC236}">
                <a16:creationId xmlns:a16="http://schemas.microsoft.com/office/drawing/2014/main" id="{1E03F9AF-4BAD-F04F-9790-BB0E3A30CCCB}"/>
              </a:ext>
            </a:extLst>
          </p:cNvPr>
          <p:cNvSpPr>
            <a:spLocks noGrp="1"/>
          </p:cNvSpPr>
          <p:nvPr>
            <p:ph type="ftr" sz="quarter" idx="11"/>
          </p:nvPr>
        </p:nvSpPr>
        <p:spPr/>
        <p:txBody>
          <a:bodyPr/>
          <a:lstStyle/>
          <a:p>
            <a:r>
              <a:rPr lang="en-US"/>
              <a:t>NYS Birth Equity Improvement Project | Engaging Dads</a:t>
            </a:r>
          </a:p>
        </p:txBody>
      </p:sp>
      <p:sp>
        <p:nvSpPr>
          <p:cNvPr id="4" name="Slide Number Placeholder 3">
            <a:extLst>
              <a:ext uri="{FF2B5EF4-FFF2-40B4-BE49-F238E27FC236}">
                <a16:creationId xmlns:a16="http://schemas.microsoft.com/office/drawing/2014/main" id="{D905582B-E7E8-6241-8EDF-068320338DC0}"/>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298180421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A4F4-99B2-5149-AE27-A7013936E6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5C8275-4001-BE4E-AB44-169D43352182}"/>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502E42-D853-FE4D-8A27-782DDE33D162}"/>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05482E-30FF-1C4B-ADC4-D63FFE047042}"/>
              </a:ext>
            </a:extLst>
          </p:cNvPr>
          <p:cNvSpPr>
            <a:spLocks noGrp="1"/>
          </p:cNvSpPr>
          <p:nvPr>
            <p:ph type="dt" sz="half" idx="10"/>
          </p:nvPr>
        </p:nvSpPr>
        <p:spPr/>
        <p:txBody>
          <a:bodyPr/>
          <a:lstStyle/>
          <a:p>
            <a:fld id="{9C648BFC-C594-424D-AC5C-854349991571}" type="datetime1">
              <a:rPr lang="en-US" smtClean="0"/>
              <a:t>4/17/2023</a:t>
            </a:fld>
            <a:endParaRPr lang="en-US"/>
          </a:p>
        </p:txBody>
      </p:sp>
      <p:sp>
        <p:nvSpPr>
          <p:cNvPr id="6" name="Footer Placeholder 5">
            <a:extLst>
              <a:ext uri="{FF2B5EF4-FFF2-40B4-BE49-F238E27FC236}">
                <a16:creationId xmlns:a16="http://schemas.microsoft.com/office/drawing/2014/main" id="{3C132743-BC9F-9B4D-ABBA-6A5B23ABBC47}"/>
              </a:ext>
            </a:extLst>
          </p:cNvPr>
          <p:cNvSpPr>
            <a:spLocks noGrp="1"/>
          </p:cNvSpPr>
          <p:nvPr>
            <p:ph type="ftr" sz="quarter" idx="11"/>
          </p:nvPr>
        </p:nvSpPr>
        <p:spPr/>
        <p:txBody>
          <a:bodyPr/>
          <a:lstStyle/>
          <a:p>
            <a:r>
              <a:rPr lang="en-US"/>
              <a:t>NYS Birth Equity Improvement Project | Engaging Dads</a:t>
            </a:r>
          </a:p>
        </p:txBody>
      </p:sp>
      <p:sp>
        <p:nvSpPr>
          <p:cNvPr id="7" name="Slide Number Placeholder 6">
            <a:extLst>
              <a:ext uri="{FF2B5EF4-FFF2-40B4-BE49-F238E27FC236}">
                <a16:creationId xmlns:a16="http://schemas.microsoft.com/office/drawing/2014/main" id="{04478729-B71E-6B42-A0FD-71CD7733524A}"/>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389418931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BFCAF-1B6B-5748-B1E8-4BC923B2D5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EC9F0CB-DF43-D345-AC69-D181BD45DC78}"/>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8311B28B-3D0C-D043-9E8C-D3C98152519D}"/>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2AEB78-8917-234C-BAC1-EEEB78C7CEF6}"/>
              </a:ext>
            </a:extLst>
          </p:cNvPr>
          <p:cNvSpPr>
            <a:spLocks noGrp="1"/>
          </p:cNvSpPr>
          <p:nvPr>
            <p:ph type="dt" sz="half" idx="10"/>
          </p:nvPr>
        </p:nvSpPr>
        <p:spPr/>
        <p:txBody>
          <a:bodyPr/>
          <a:lstStyle/>
          <a:p>
            <a:fld id="{0B3ECED6-A474-8C4D-89C4-56CE03E05687}" type="datetime1">
              <a:rPr lang="en-US" smtClean="0"/>
              <a:t>4/17/2023</a:t>
            </a:fld>
            <a:endParaRPr lang="en-US"/>
          </a:p>
        </p:txBody>
      </p:sp>
      <p:sp>
        <p:nvSpPr>
          <p:cNvPr id="6" name="Footer Placeholder 5">
            <a:extLst>
              <a:ext uri="{FF2B5EF4-FFF2-40B4-BE49-F238E27FC236}">
                <a16:creationId xmlns:a16="http://schemas.microsoft.com/office/drawing/2014/main" id="{263647EC-2015-0B44-97D6-A51758B6DBDB}"/>
              </a:ext>
            </a:extLst>
          </p:cNvPr>
          <p:cNvSpPr>
            <a:spLocks noGrp="1"/>
          </p:cNvSpPr>
          <p:nvPr>
            <p:ph type="ftr" sz="quarter" idx="11"/>
          </p:nvPr>
        </p:nvSpPr>
        <p:spPr/>
        <p:txBody>
          <a:bodyPr/>
          <a:lstStyle/>
          <a:p>
            <a:r>
              <a:rPr lang="en-US"/>
              <a:t>NYS Birth Equity Improvement Project | Engaging Dads</a:t>
            </a:r>
          </a:p>
        </p:txBody>
      </p:sp>
      <p:sp>
        <p:nvSpPr>
          <p:cNvPr id="7" name="Slide Number Placeholder 6">
            <a:extLst>
              <a:ext uri="{FF2B5EF4-FFF2-40B4-BE49-F238E27FC236}">
                <a16:creationId xmlns:a16="http://schemas.microsoft.com/office/drawing/2014/main" id="{9D5BE21A-721F-7247-ABE1-CE3981F98AD9}"/>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108933893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A41BB-1FAE-CC49-BC6E-AC5A04B3B1D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91BC27-8215-2841-9906-541561CEDE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4C7F5E-DB7C-9746-A63A-FE3CE3B7E4DD}"/>
              </a:ext>
            </a:extLst>
          </p:cNvPr>
          <p:cNvSpPr>
            <a:spLocks noGrp="1"/>
          </p:cNvSpPr>
          <p:nvPr>
            <p:ph type="dt" sz="half" idx="10"/>
          </p:nvPr>
        </p:nvSpPr>
        <p:spPr/>
        <p:txBody>
          <a:bodyPr/>
          <a:lstStyle/>
          <a:p>
            <a:fld id="{443DFF92-AA1A-DE45-A6B4-EA4AB7DF3AAD}" type="datetime1">
              <a:rPr lang="en-US" smtClean="0"/>
              <a:t>4/17/2023</a:t>
            </a:fld>
            <a:endParaRPr lang="en-US"/>
          </a:p>
        </p:txBody>
      </p:sp>
      <p:sp>
        <p:nvSpPr>
          <p:cNvPr id="5" name="Footer Placeholder 4">
            <a:extLst>
              <a:ext uri="{FF2B5EF4-FFF2-40B4-BE49-F238E27FC236}">
                <a16:creationId xmlns:a16="http://schemas.microsoft.com/office/drawing/2014/main" id="{76BD0EBE-97EC-1B4A-9409-AA23BE825EF5}"/>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54AE7C22-A6C5-184C-8096-4D3F1292AF6B}"/>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187411238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5F7AF68-7980-F74B-B459-D8D10A4D4868}"/>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A208659-34CA-D744-8962-C201A82A45B2}"/>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80B21A-65A1-0248-9250-93D4CFF040F1}"/>
              </a:ext>
            </a:extLst>
          </p:cNvPr>
          <p:cNvSpPr>
            <a:spLocks noGrp="1"/>
          </p:cNvSpPr>
          <p:nvPr>
            <p:ph type="dt" sz="half" idx="10"/>
          </p:nvPr>
        </p:nvSpPr>
        <p:spPr/>
        <p:txBody>
          <a:bodyPr/>
          <a:lstStyle/>
          <a:p>
            <a:fld id="{B3AD0C37-AC74-E140-AF7B-0AFC04E3574E}" type="datetime1">
              <a:rPr lang="en-US" smtClean="0"/>
              <a:t>4/17/2023</a:t>
            </a:fld>
            <a:endParaRPr lang="en-US"/>
          </a:p>
        </p:txBody>
      </p:sp>
      <p:sp>
        <p:nvSpPr>
          <p:cNvPr id="5" name="Footer Placeholder 4">
            <a:extLst>
              <a:ext uri="{FF2B5EF4-FFF2-40B4-BE49-F238E27FC236}">
                <a16:creationId xmlns:a16="http://schemas.microsoft.com/office/drawing/2014/main" id="{620737D0-E3D6-7542-9104-B04F01E2D75E}"/>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420322C2-6B43-7A49-B1D3-4883DBB883E1}"/>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336419648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2C48C62-C3E0-4779-A1BA-3753C7A78F55}"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498520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4B5682-C18A-4AF5-AEA0-0B3AF5998B83}"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04300134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C634E2-6322-45F9-AB7F-A21DD9FD0250}"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7622092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FC1BB8-79CB-4B31-B1C3-855E02C6D138}"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3835974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8E36E99-A762-4AC1-9EC6-54E59BEE8347}" type="datetime1">
              <a:rPr lang="en-US" smtClean="0"/>
              <a:t>4/17/20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550255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89533-57F2-4967-ACCC-C9755C981E92}" type="datetime1">
              <a:rPr lang="en-US" smtClean="0"/>
              <a:t>4/17/20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04872279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A0657-451F-4A1D-AB0B-E276FA4613B6}" type="datetime1">
              <a:rPr lang="en-US" smtClean="0"/>
              <a:t>4/17/20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11601813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58C3069-D129-4249-8867-1C9B5141F586}"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0695456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7AB2A74C-C2C7-4659-B356-7AC813AC23F7}"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9815772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90B49B-2A9B-4B91-BF58-9ECCA201C17D}"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8874318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1F4994-C0BA-4140-8BBB-F7CD719B62CF}"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7773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07727" y="1928992"/>
            <a:ext cx="10674676" cy="485389"/>
          </a:xfrm>
        </p:spPr>
        <p:txBody>
          <a:bodyPr wrap="square" lIns="0" tIns="0" rIns="0" bIns="0" anchor="ctr" anchorCtr="0">
            <a:spAutoFit/>
          </a:bodyPr>
          <a:lstStyle>
            <a:lvl1pPr>
              <a:lnSpc>
                <a:spcPct val="83000"/>
              </a:lnSpc>
              <a:defRPr sz="3800" cap="all">
                <a:solidFill>
                  <a:srgbClr val="FFFFFF"/>
                </a:solidFill>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907727" y="3074391"/>
            <a:ext cx="10674676" cy="246221"/>
          </a:xfrm>
        </p:spPr>
        <p:txBody>
          <a:bodyPr wrap="square" lIns="0" tIns="0" rIns="0" bIns="0" anchor="ctr" anchorCtr="0">
            <a:spAutoFit/>
          </a:bodyPr>
          <a:lstStyle>
            <a:lvl1pPr marL="0" indent="0" algn="l">
              <a:buNone/>
              <a:defRPr sz="1600" b="0" i="0" cap="none" baseline="0">
                <a:solidFill>
                  <a:srgbClr val="FFFFFF"/>
                </a:solidFill>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498" indent="0" algn="ctr">
              <a:buNone/>
              <a:defRPr>
                <a:solidFill>
                  <a:schemeClr val="tx1">
                    <a:tint val="75000"/>
                  </a:schemeClr>
                </a:solidFill>
              </a:defRPr>
            </a:lvl5pPr>
            <a:lvl6pPr marL="1714372" indent="0" algn="ctr">
              <a:buNone/>
              <a:defRPr>
                <a:solidFill>
                  <a:schemeClr val="tx1">
                    <a:tint val="75000"/>
                  </a:schemeClr>
                </a:solidFill>
              </a:defRPr>
            </a:lvl6pPr>
            <a:lvl7pPr marL="2057247" indent="0" algn="ctr">
              <a:buNone/>
              <a:defRPr>
                <a:solidFill>
                  <a:schemeClr val="tx1">
                    <a:tint val="75000"/>
                  </a:schemeClr>
                </a:solidFill>
              </a:defRPr>
            </a:lvl7pPr>
            <a:lvl8pPr marL="2400120" indent="0" algn="ctr">
              <a:buNone/>
              <a:defRPr>
                <a:solidFill>
                  <a:schemeClr val="tx1">
                    <a:tint val="75000"/>
                  </a:schemeClr>
                </a:solidFill>
              </a:defRPr>
            </a:lvl8pPr>
            <a:lvl9pPr marL="2742994" indent="0" algn="ctr">
              <a:buNone/>
              <a:defRPr>
                <a:solidFill>
                  <a:schemeClr val="tx1">
                    <a:tint val="75000"/>
                  </a:schemeClr>
                </a:solidFill>
              </a:defRPr>
            </a:lvl9pPr>
          </a:lstStyle>
          <a:p>
            <a:r>
              <a:rPr lang="en-US" dirty="0"/>
              <a:t>Click To Edit Master Subtitle Style</a:t>
            </a:r>
          </a:p>
        </p:txBody>
      </p:sp>
      <p:sp>
        <p:nvSpPr>
          <p:cNvPr id="6" name="Text Placeholder 5"/>
          <p:cNvSpPr>
            <a:spLocks noGrp="1"/>
          </p:cNvSpPr>
          <p:nvPr>
            <p:ph type="body" sz="quarter" idx="11"/>
          </p:nvPr>
        </p:nvSpPr>
        <p:spPr>
          <a:xfrm>
            <a:off x="6675973" y="465195"/>
            <a:ext cx="4906433" cy="246221"/>
          </a:xfrm>
        </p:spPr>
        <p:txBody>
          <a:bodyPr anchor="ctr" anchorCtr="0">
            <a:spAutoFit/>
          </a:bodyPr>
          <a:lstStyle>
            <a:lvl1pPr marL="0" indent="0" algn="r">
              <a:buNone/>
              <a:defRPr sz="1600">
                <a:solidFill>
                  <a:schemeClr val="bg1"/>
                </a:solidFill>
              </a:defRPr>
            </a:lvl1pPr>
            <a:lvl2pPr marL="230172" indent="0">
              <a:buNone/>
              <a:defRPr/>
            </a:lvl2pPr>
          </a:lstStyle>
          <a:p>
            <a:pPr lvl="0"/>
            <a:r>
              <a:rPr lang="en-US"/>
              <a:t>Edit Master text styles</a:t>
            </a:r>
          </a:p>
        </p:txBody>
      </p:sp>
      <p:sp>
        <p:nvSpPr>
          <p:cNvPr id="8" name="Freeform 5"/>
          <p:cNvSpPr>
            <a:spLocks noEditPoints="1"/>
          </p:cNvSpPr>
          <p:nvPr userDrawn="1"/>
        </p:nvSpPr>
        <p:spPr bwMode="auto">
          <a:xfrm>
            <a:off x="787907" y="236944"/>
            <a:ext cx="2013840" cy="659561"/>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7" name="Picture Placeholder 16"/>
          <p:cNvSpPr>
            <a:spLocks noGrp="1"/>
          </p:cNvSpPr>
          <p:nvPr>
            <p:ph type="pic" sz="quarter" idx="12"/>
          </p:nvPr>
        </p:nvSpPr>
        <p:spPr>
          <a:xfrm>
            <a:off x="1305" y="5059216"/>
            <a:ext cx="12193873" cy="1801707"/>
          </a:xfrm>
          <a:custGeom>
            <a:avLst/>
            <a:gdLst>
              <a:gd name="connsiteX0" fmla="*/ 0 w 9142413"/>
              <a:gd name="connsiteY0" fmla="*/ 0 h 1360841"/>
              <a:gd name="connsiteX1" fmla="*/ 9142413 w 9142413"/>
              <a:gd name="connsiteY1" fmla="*/ 0 h 1360841"/>
              <a:gd name="connsiteX2" fmla="*/ 9142413 w 9142413"/>
              <a:gd name="connsiteY2" fmla="*/ 1360841 h 1360841"/>
              <a:gd name="connsiteX3" fmla="*/ 0 w 9142413"/>
              <a:gd name="connsiteY3" fmla="*/ 1360841 h 1360841"/>
              <a:gd name="connsiteX4" fmla="*/ 0 w 9142413"/>
              <a:gd name="connsiteY4" fmla="*/ 0 h 1360841"/>
              <a:gd name="connsiteX0" fmla="*/ 0 w 9142413"/>
              <a:gd name="connsiteY0" fmla="*/ 0 h 1360841"/>
              <a:gd name="connsiteX1" fmla="*/ 702469 w 9142413"/>
              <a:gd name="connsiteY1" fmla="*/ 1147 h 1360841"/>
              <a:gd name="connsiteX2" fmla="*/ 9142413 w 9142413"/>
              <a:gd name="connsiteY2" fmla="*/ 0 h 1360841"/>
              <a:gd name="connsiteX3" fmla="*/ 9142413 w 9142413"/>
              <a:gd name="connsiteY3" fmla="*/ 1360841 h 1360841"/>
              <a:gd name="connsiteX4" fmla="*/ 0 w 9142413"/>
              <a:gd name="connsiteY4" fmla="*/ 1360841 h 1360841"/>
              <a:gd name="connsiteX5" fmla="*/ 0 w 9142413"/>
              <a:gd name="connsiteY5" fmla="*/ 0 h 1360841"/>
              <a:gd name="connsiteX0" fmla="*/ 0 w 9142413"/>
              <a:gd name="connsiteY0" fmla="*/ 1234 h 1362075"/>
              <a:gd name="connsiteX1" fmla="*/ 702469 w 9142413"/>
              <a:gd name="connsiteY1" fmla="*/ 2381 h 1362075"/>
              <a:gd name="connsiteX2" fmla="*/ 966788 w 9142413"/>
              <a:gd name="connsiteY2" fmla="*/ 0 h 1362075"/>
              <a:gd name="connsiteX3" fmla="*/ 9142413 w 9142413"/>
              <a:gd name="connsiteY3" fmla="*/ 1234 h 1362075"/>
              <a:gd name="connsiteX4" fmla="*/ 9142413 w 9142413"/>
              <a:gd name="connsiteY4" fmla="*/ 1362075 h 1362075"/>
              <a:gd name="connsiteX5" fmla="*/ 0 w 9142413"/>
              <a:gd name="connsiteY5" fmla="*/ 1362075 h 1362075"/>
              <a:gd name="connsiteX6" fmla="*/ 0 w 9142413"/>
              <a:gd name="connsiteY6" fmla="*/ 1234 h 1362075"/>
              <a:gd name="connsiteX0" fmla="*/ 0 w 9142413"/>
              <a:gd name="connsiteY0" fmla="*/ 1234 h 1362075"/>
              <a:gd name="connsiteX1" fmla="*/ 702469 w 9142413"/>
              <a:gd name="connsiteY1" fmla="*/ 2381 h 1362075"/>
              <a:gd name="connsiteX2" fmla="*/ 838200 w 9142413"/>
              <a:gd name="connsiteY2" fmla="*/ 2381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26294 w 9142413"/>
              <a:gd name="connsiteY2" fmla="*/ 240506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26294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9186"/>
              <a:gd name="connsiteY0" fmla="*/ 28327 h 1362075"/>
              <a:gd name="connsiteX1" fmla="*/ 709242 w 9149186"/>
              <a:gd name="connsiteY1" fmla="*/ 2381 h 1362075"/>
              <a:gd name="connsiteX2" fmla="*/ 849735 w 9149186"/>
              <a:gd name="connsiteY2" fmla="*/ 235744 h 1362075"/>
              <a:gd name="connsiteX3" fmla="*/ 973561 w 9149186"/>
              <a:gd name="connsiteY3" fmla="*/ 0 h 1362075"/>
              <a:gd name="connsiteX4" fmla="*/ 9149186 w 9149186"/>
              <a:gd name="connsiteY4" fmla="*/ 1234 h 1362075"/>
              <a:gd name="connsiteX5" fmla="*/ 9149186 w 9149186"/>
              <a:gd name="connsiteY5" fmla="*/ 1362075 h 1362075"/>
              <a:gd name="connsiteX6" fmla="*/ 6773 w 9149186"/>
              <a:gd name="connsiteY6" fmla="*/ 1362075 h 1362075"/>
              <a:gd name="connsiteX7" fmla="*/ 0 w 9149186"/>
              <a:gd name="connsiteY7" fmla="*/ 28327 h 1362075"/>
              <a:gd name="connsiteX0" fmla="*/ 0 w 9149186"/>
              <a:gd name="connsiteY0" fmla="*/ 28327 h 1362075"/>
              <a:gd name="connsiteX1" fmla="*/ 688922 w 9149186"/>
              <a:gd name="connsiteY1" fmla="*/ 29475 h 1362075"/>
              <a:gd name="connsiteX2" fmla="*/ 849735 w 9149186"/>
              <a:gd name="connsiteY2" fmla="*/ 235744 h 1362075"/>
              <a:gd name="connsiteX3" fmla="*/ 973561 w 9149186"/>
              <a:gd name="connsiteY3" fmla="*/ 0 h 1362075"/>
              <a:gd name="connsiteX4" fmla="*/ 9149186 w 9149186"/>
              <a:gd name="connsiteY4" fmla="*/ 1234 h 1362075"/>
              <a:gd name="connsiteX5" fmla="*/ 9149186 w 9149186"/>
              <a:gd name="connsiteY5" fmla="*/ 1362075 h 1362075"/>
              <a:gd name="connsiteX6" fmla="*/ 6773 w 9149186"/>
              <a:gd name="connsiteY6" fmla="*/ 1362075 h 1362075"/>
              <a:gd name="connsiteX7" fmla="*/ 0 w 9149186"/>
              <a:gd name="connsiteY7" fmla="*/ 28327 h 1362075"/>
              <a:gd name="connsiteX0" fmla="*/ 0 w 9149186"/>
              <a:gd name="connsiteY0" fmla="*/ 27093 h 1360841"/>
              <a:gd name="connsiteX1" fmla="*/ 688922 w 9149186"/>
              <a:gd name="connsiteY1" fmla="*/ 28241 h 1360841"/>
              <a:gd name="connsiteX2" fmla="*/ 849735 w 9149186"/>
              <a:gd name="connsiteY2" fmla="*/ 234510 h 1360841"/>
              <a:gd name="connsiteX3" fmla="*/ 953241 w 9149186"/>
              <a:gd name="connsiteY3" fmla="*/ 25860 h 1360841"/>
              <a:gd name="connsiteX4" fmla="*/ 9149186 w 9149186"/>
              <a:gd name="connsiteY4" fmla="*/ 0 h 1360841"/>
              <a:gd name="connsiteX5" fmla="*/ 9149186 w 9149186"/>
              <a:gd name="connsiteY5" fmla="*/ 1360841 h 1360841"/>
              <a:gd name="connsiteX6" fmla="*/ 6773 w 9149186"/>
              <a:gd name="connsiteY6" fmla="*/ 1360841 h 1360841"/>
              <a:gd name="connsiteX7" fmla="*/ 0 w 9149186"/>
              <a:gd name="connsiteY7" fmla="*/ 27093 h 1360841"/>
              <a:gd name="connsiteX0" fmla="*/ 0 w 9149186"/>
              <a:gd name="connsiteY0" fmla="*/ 1233 h 1334981"/>
              <a:gd name="connsiteX1" fmla="*/ 688922 w 9149186"/>
              <a:gd name="connsiteY1" fmla="*/ 2381 h 1334981"/>
              <a:gd name="connsiteX2" fmla="*/ 849735 w 9149186"/>
              <a:gd name="connsiteY2" fmla="*/ 208650 h 1334981"/>
              <a:gd name="connsiteX3" fmla="*/ 953241 w 9149186"/>
              <a:gd name="connsiteY3" fmla="*/ 0 h 1334981"/>
              <a:gd name="connsiteX4" fmla="*/ 9149186 w 9149186"/>
              <a:gd name="connsiteY4" fmla="*/ 1233 h 1334981"/>
              <a:gd name="connsiteX5" fmla="*/ 9149186 w 9149186"/>
              <a:gd name="connsiteY5" fmla="*/ 1334981 h 1334981"/>
              <a:gd name="connsiteX6" fmla="*/ 6773 w 9149186"/>
              <a:gd name="connsiteY6" fmla="*/ 1334981 h 1334981"/>
              <a:gd name="connsiteX7" fmla="*/ 0 w 9149186"/>
              <a:gd name="connsiteY7" fmla="*/ 1233 h 1334981"/>
              <a:gd name="connsiteX0" fmla="*/ 0 w 9149186"/>
              <a:gd name="connsiteY0" fmla="*/ 1233 h 1334981"/>
              <a:gd name="connsiteX1" fmla="*/ 688922 w 9149186"/>
              <a:gd name="connsiteY1" fmla="*/ 2381 h 1334981"/>
              <a:gd name="connsiteX2" fmla="*/ 815868 w 9149186"/>
              <a:gd name="connsiteY2" fmla="*/ 235743 h 1334981"/>
              <a:gd name="connsiteX3" fmla="*/ 953241 w 9149186"/>
              <a:gd name="connsiteY3" fmla="*/ 0 h 1334981"/>
              <a:gd name="connsiteX4" fmla="*/ 9149186 w 9149186"/>
              <a:gd name="connsiteY4" fmla="*/ 1233 h 1334981"/>
              <a:gd name="connsiteX5" fmla="*/ 9149186 w 9149186"/>
              <a:gd name="connsiteY5" fmla="*/ 1334981 h 1334981"/>
              <a:gd name="connsiteX6" fmla="*/ 6773 w 9149186"/>
              <a:gd name="connsiteY6" fmla="*/ 1334981 h 1334981"/>
              <a:gd name="connsiteX7" fmla="*/ 0 w 9149186"/>
              <a:gd name="connsiteY7" fmla="*/ 1233 h 1334981"/>
              <a:gd name="connsiteX0" fmla="*/ 3193 w 9142854"/>
              <a:gd name="connsiteY0" fmla="*/ 5995 h 1334981"/>
              <a:gd name="connsiteX1" fmla="*/ 682590 w 9142854"/>
              <a:gd name="connsiteY1" fmla="*/ 2381 h 1334981"/>
              <a:gd name="connsiteX2" fmla="*/ 809536 w 9142854"/>
              <a:gd name="connsiteY2" fmla="*/ 235743 h 1334981"/>
              <a:gd name="connsiteX3" fmla="*/ 946909 w 9142854"/>
              <a:gd name="connsiteY3" fmla="*/ 0 h 1334981"/>
              <a:gd name="connsiteX4" fmla="*/ 9142854 w 9142854"/>
              <a:gd name="connsiteY4" fmla="*/ 1233 h 1334981"/>
              <a:gd name="connsiteX5" fmla="*/ 9142854 w 9142854"/>
              <a:gd name="connsiteY5" fmla="*/ 1334981 h 1334981"/>
              <a:gd name="connsiteX6" fmla="*/ 441 w 9142854"/>
              <a:gd name="connsiteY6" fmla="*/ 1334981 h 1334981"/>
              <a:gd name="connsiteX7" fmla="*/ 3193 w 9142854"/>
              <a:gd name="connsiteY7" fmla="*/ 5995 h 1334981"/>
              <a:gd name="connsiteX0" fmla="*/ 982 w 9143024"/>
              <a:gd name="connsiteY0" fmla="*/ 0 h 1338511"/>
              <a:gd name="connsiteX1" fmla="*/ 682760 w 9143024"/>
              <a:gd name="connsiteY1" fmla="*/ 5911 h 1338511"/>
              <a:gd name="connsiteX2" fmla="*/ 809706 w 9143024"/>
              <a:gd name="connsiteY2" fmla="*/ 239273 h 1338511"/>
              <a:gd name="connsiteX3" fmla="*/ 947079 w 9143024"/>
              <a:gd name="connsiteY3" fmla="*/ 3530 h 1338511"/>
              <a:gd name="connsiteX4" fmla="*/ 9143024 w 9143024"/>
              <a:gd name="connsiteY4" fmla="*/ 4763 h 1338511"/>
              <a:gd name="connsiteX5" fmla="*/ 9143024 w 9143024"/>
              <a:gd name="connsiteY5" fmla="*/ 1338511 h 1338511"/>
              <a:gd name="connsiteX6" fmla="*/ 611 w 9143024"/>
              <a:gd name="connsiteY6" fmla="*/ 1338511 h 1338511"/>
              <a:gd name="connsiteX7" fmla="*/ 982 w 9143024"/>
              <a:gd name="connsiteY7" fmla="*/ 0 h 1338511"/>
              <a:gd name="connsiteX0" fmla="*/ 982 w 9143024"/>
              <a:gd name="connsiteY0" fmla="*/ 0 h 1338511"/>
              <a:gd name="connsiteX1" fmla="*/ 673235 w 9143024"/>
              <a:gd name="connsiteY1" fmla="*/ 1149 h 1338511"/>
              <a:gd name="connsiteX2" fmla="*/ 809706 w 9143024"/>
              <a:gd name="connsiteY2" fmla="*/ 239273 h 1338511"/>
              <a:gd name="connsiteX3" fmla="*/ 947079 w 9143024"/>
              <a:gd name="connsiteY3" fmla="*/ 3530 h 1338511"/>
              <a:gd name="connsiteX4" fmla="*/ 9143024 w 9143024"/>
              <a:gd name="connsiteY4" fmla="*/ 4763 h 1338511"/>
              <a:gd name="connsiteX5" fmla="*/ 9143024 w 9143024"/>
              <a:gd name="connsiteY5" fmla="*/ 1338511 h 1338511"/>
              <a:gd name="connsiteX6" fmla="*/ 611 w 9143024"/>
              <a:gd name="connsiteY6" fmla="*/ 1338511 h 1338511"/>
              <a:gd name="connsiteX7" fmla="*/ 982 w 9143024"/>
              <a:gd name="connsiteY7" fmla="*/ 0 h 1338511"/>
              <a:gd name="connsiteX0" fmla="*/ 982 w 9143024"/>
              <a:gd name="connsiteY0" fmla="*/ 0 h 1338511"/>
              <a:gd name="connsiteX1" fmla="*/ 673235 w 9143024"/>
              <a:gd name="connsiteY1" fmla="*/ 1149 h 1338511"/>
              <a:gd name="connsiteX2" fmla="*/ 809706 w 9143024"/>
              <a:gd name="connsiteY2" fmla="*/ 239273 h 1338511"/>
              <a:gd name="connsiteX3" fmla="*/ 947079 w 9143024"/>
              <a:gd name="connsiteY3" fmla="*/ 3530 h 1338511"/>
              <a:gd name="connsiteX4" fmla="*/ 9143024 w 9143024"/>
              <a:gd name="connsiteY4" fmla="*/ 4763 h 1338511"/>
              <a:gd name="connsiteX5" fmla="*/ 9143024 w 9143024"/>
              <a:gd name="connsiteY5" fmla="*/ 1338511 h 1338511"/>
              <a:gd name="connsiteX6" fmla="*/ 611 w 9143024"/>
              <a:gd name="connsiteY6" fmla="*/ 1338511 h 1338511"/>
              <a:gd name="connsiteX7" fmla="*/ 982 w 9143024"/>
              <a:gd name="connsiteY7" fmla="*/ 0 h 1338511"/>
              <a:gd name="connsiteX0" fmla="*/ 982 w 9143024"/>
              <a:gd name="connsiteY0" fmla="*/ 3614 h 1342125"/>
              <a:gd name="connsiteX1" fmla="*/ 673235 w 9143024"/>
              <a:gd name="connsiteY1" fmla="*/ 4763 h 1342125"/>
              <a:gd name="connsiteX2" fmla="*/ 809706 w 9143024"/>
              <a:gd name="connsiteY2" fmla="*/ 242887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73235 w 9143024"/>
              <a:gd name="connsiteY1" fmla="*/ 4763 h 1342125"/>
              <a:gd name="connsiteX2" fmla="*/ 800181 w 9143024"/>
              <a:gd name="connsiteY2" fmla="*/ 2000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73235 w 9143024"/>
              <a:gd name="connsiteY1" fmla="*/ 4763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73235 w 9143024"/>
              <a:gd name="connsiteY1" fmla="*/ 4763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73235 w 9143024"/>
              <a:gd name="connsiteY1" fmla="*/ 4763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1329 w 9143024"/>
              <a:gd name="connsiteY1" fmla="*/ 2382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3615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3615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1232 h 1339743"/>
              <a:gd name="connsiteX1" fmla="*/ 668473 w 9143024"/>
              <a:gd name="connsiteY1" fmla="*/ 0 h 1339743"/>
              <a:gd name="connsiteX2" fmla="*/ 804944 w 9143024"/>
              <a:gd name="connsiteY2" fmla="*/ 245267 h 1339743"/>
              <a:gd name="connsiteX3" fmla="*/ 947079 w 9143024"/>
              <a:gd name="connsiteY3" fmla="*/ 0 h 1339743"/>
              <a:gd name="connsiteX4" fmla="*/ 9143024 w 9143024"/>
              <a:gd name="connsiteY4" fmla="*/ 1233 h 1339743"/>
              <a:gd name="connsiteX5" fmla="*/ 9143024 w 9143024"/>
              <a:gd name="connsiteY5" fmla="*/ 1339743 h 1339743"/>
              <a:gd name="connsiteX6" fmla="*/ 611 w 9143024"/>
              <a:gd name="connsiteY6" fmla="*/ 1339743 h 1339743"/>
              <a:gd name="connsiteX7" fmla="*/ 982 w 9143024"/>
              <a:gd name="connsiteY7" fmla="*/ 1232 h 1339743"/>
              <a:gd name="connsiteX0" fmla="*/ 982 w 9143024"/>
              <a:gd name="connsiteY0" fmla="*/ 1232 h 1339743"/>
              <a:gd name="connsiteX1" fmla="*/ 668473 w 9143024"/>
              <a:gd name="connsiteY1" fmla="*/ 0 h 1339743"/>
              <a:gd name="connsiteX2" fmla="*/ 804944 w 9143024"/>
              <a:gd name="connsiteY2" fmla="*/ 245267 h 1339743"/>
              <a:gd name="connsiteX3" fmla="*/ 947079 w 9143024"/>
              <a:gd name="connsiteY3" fmla="*/ 0 h 1339743"/>
              <a:gd name="connsiteX4" fmla="*/ 9143024 w 9143024"/>
              <a:gd name="connsiteY4" fmla="*/ 1233 h 1339743"/>
              <a:gd name="connsiteX5" fmla="*/ 9143024 w 9143024"/>
              <a:gd name="connsiteY5" fmla="*/ 1339743 h 1339743"/>
              <a:gd name="connsiteX6" fmla="*/ 611 w 9143024"/>
              <a:gd name="connsiteY6" fmla="*/ 1339743 h 1339743"/>
              <a:gd name="connsiteX7" fmla="*/ 982 w 9143024"/>
              <a:gd name="connsiteY7"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947079 w 9143024"/>
              <a:gd name="connsiteY4" fmla="*/ 0 h 1339743"/>
              <a:gd name="connsiteX5" fmla="*/ 9143024 w 9143024"/>
              <a:gd name="connsiteY5" fmla="*/ 1233 h 1339743"/>
              <a:gd name="connsiteX6" fmla="*/ 9143024 w 9143024"/>
              <a:gd name="connsiteY6" fmla="*/ 1339743 h 1339743"/>
              <a:gd name="connsiteX7" fmla="*/ 611 w 9143024"/>
              <a:gd name="connsiteY7" fmla="*/ 1339743 h 1339743"/>
              <a:gd name="connsiteX8" fmla="*/ 982 w 9143024"/>
              <a:gd name="connsiteY8"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36430 w 9143024"/>
              <a:gd name="connsiteY4" fmla="*/ 199124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206268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206268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206268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206268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199124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199124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55468 w 9143024"/>
              <a:gd name="connsiteY2" fmla="*/ 232462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8589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97800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97800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97800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97800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2562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3 w 9143024"/>
              <a:gd name="connsiteY3" fmla="*/ 242886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3 w 9143024"/>
              <a:gd name="connsiteY3" fmla="*/ 242886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0 w 9142042"/>
              <a:gd name="connsiteY0" fmla="*/ 1232 h 1339743"/>
              <a:gd name="connsiteX1" fmla="*/ 667491 w 9142042"/>
              <a:gd name="connsiteY1" fmla="*/ 0 h 1339743"/>
              <a:gd name="connsiteX2" fmla="*/ 764011 w 9142042"/>
              <a:gd name="connsiteY2" fmla="*/ 201506 h 1339743"/>
              <a:gd name="connsiteX3" fmla="*/ 803961 w 9142042"/>
              <a:gd name="connsiteY3" fmla="*/ 242886 h 1339743"/>
              <a:gd name="connsiteX4" fmla="*/ 842592 w 9142042"/>
              <a:gd name="connsiteY4" fmla="*/ 199125 h 1339743"/>
              <a:gd name="connsiteX5" fmla="*/ 946097 w 9142042"/>
              <a:gd name="connsiteY5" fmla="*/ 0 h 1339743"/>
              <a:gd name="connsiteX6" fmla="*/ 9142042 w 9142042"/>
              <a:gd name="connsiteY6" fmla="*/ 1233 h 1339743"/>
              <a:gd name="connsiteX7" fmla="*/ 9142042 w 9142042"/>
              <a:gd name="connsiteY7" fmla="*/ 1339743 h 1339743"/>
              <a:gd name="connsiteX8" fmla="*/ 121073 w 9142042"/>
              <a:gd name="connsiteY8" fmla="*/ 1215918 h 1339743"/>
              <a:gd name="connsiteX9" fmla="*/ 0 w 9142042"/>
              <a:gd name="connsiteY9" fmla="*/ 1232 h 1339743"/>
              <a:gd name="connsiteX0" fmla="*/ 982 w 9143024"/>
              <a:gd name="connsiteY0" fmla="*/ 1232 h 1342124"/>
              <a:gd name="connsiteX1" fmla="*/ 668473 w 9143024"/>
              <a:gd name="connsiteY1" fmla="*/ 0 h 1342124"/>
              <a:gd name="connsiteX2" fmla="*/ 764993 w 9143024"/>
              <a:gd name="connsiteY2" fmla="*/ 201506 h 1342124"/>
              <a:gd name="connsiteX3" fmla="*/ 804943 w 9143024"/>
              <a:gd name="connsiteY3" fmla="*/ 242886 h 1342124"/>
              <a:gd name="connsiteX4" fmla="*/ 843574 w 9143024"/>
              <a:gd name="connsiteY4" fmla="*/ 199125 h 1342124"/>
              <a:gd name="connsiteX5" fmla="*/ 947079 w 9143024"/>
              <a:gd name="connsiteY5" fmla="*/ 0 h 1342124"/>
              <a:gd name="connsiteX6" fmla="*/ 9143024 w 9143024"/>
              <a:gd name="connsiteY6" fmla="*/ 1233 h 1342124"/>
              <a:gd name="connsiteX7" fmla="*/ 9143024 w 9143024"/>
              <a:gd name="connsiteY7" fmla="*/ 1339743 h 1342124"/>
              <a:gd name="connsiteX8" fmla="*/ 611 w 9143024"/>
              <a:gd name="connsiteY8" fmla="*/ 1342124 h 1342124"/>
              <a:gd name="connsiteX9" fmla="*/ 982 w 9143024"/>
              <a:gd name="connsiteY9" fmla="*/ 1232 h 1342124"/>
              <a:gd name="connsiteX0" fmla="*/ 371 w 9142413"/>
              <a:gd name="connsiteY0" fmla="*/ 1232 h 1342124"/>
              <a:gd name="connsiteX1" fmla="*/ 667862 w 9142413"/>
              <a:gd name="connsiteY1" fmla="*/ 0 h 1342124"/>
              <a:gd name="connsiteX2" fmla="*/ 764382 w 9142413"/>
              <a:gd name="connsiteY2" fmla="*/ 201506 h 1342124"/>
              <a:gd name="connsiteX3" fmla="*/ 804332 w 9142413"/>
              <a:gd name="connsiteY3" fmla="*/ 242886 h 1342124"/>
              <a:gd name="connsiteX4" fmla="*/ 842963 w 9142413"/>
              <a:gd name="connsiteY4" fmla="*/ 199125 h 1342124"/>
              <a:gd name="connsiteX5" fmla="*/ 946468 w 9142413"/>
              <a:gd name="connsiteY5" fmla="*/ 0 h 1342124"/>
              <a:gd name="connsiteX6" fmla="*/ 9142413 w 9142413"/>
              <a:gd name="connsiteY6" fmla="*/ 1233 h 1342124"/>
              <a:gd name="connsiteX7" fmla="*/ 9142413 w 9142413"/>
              <a:gd name="connsiteY7" fmla="*/ 1339743 h 1342124"/>
              <a:gd name="connsiteX8" fmla="*/ 0 w 9142413"/>
              <a:gd name="connsiteY8" fmla="*/ 1342124 h 1342124"/>
              <a:gd name="connsiteX9" fmla="*/ 371 w 9142413"/>
              <a:gd name="connsiteY9" fmla="*/ 1232 h 1342124"/>
              <a:gd name="connsiteX0" fmla="*/ 371 w 9142413"/>
              <a:gd name="connsiteY0" fmla="*/ 1232 h 1342124"/>
              <a:gd name="connsiteX1" fmla="*/ 667862 w 9142413"/>
              <a:gd name="connsiteY1" fmla="*/ 0 h 1342124"/>
              <a:gd name="connsiteX2" fmla="*/ 764382 w 9142413"/>
              <a:gd name="connsiteY2" fmla="*/ 201506 h 1342124"/>
              <a:gd name="connsiteX3" fmla="*/ 804332 w 9142413"/>
              <a:gd name="connsiteY3" fmla="*/ 242886 h 1342124"/>
              <a:gd name="connsiteX4" fmla="*/ 842963 w 9142413"/>
              <a:gd name="connsiteY4" fmla="*/ 199125 h 1342124"/>
              <a:gd name="connsiteX5" fmla="*/ 946468 w 9142413"/>
              <a:gd name="connsiteY5" fmla="*/ 0 h 1342124"/>
              <a:gd name="connsiteX6" fmla="*/ 9142413 w 9142413"/>
              <a:gd name="connsiteY6" fmla="*/ 1233 h 1342124"/>
              <a:gd name="connsiteX7" fmla="*/ 9142413 w 9142413"/>
              <a:gd name="connsiteY7" fmla="*/ 1339743 h 1342124"/>
              <a:gd name="connsiteX8" fmla="*/ 0 w 9142413"/>
              <a:gd name="connsiteY8" fmla="*/ 1342124 h 1342124"/>
              <a:gd name="connsiteX9" fmla="*/ 371 w 9142413"/>
              <a:gd name="connsiteY9" fmla="*/ 1232 h 1342124"/>
              <a:gd name="connsiteX0" fmla="*/ 0 w 9142042"/>
              <a:gd name="connsiteY0" fmla="*/ 1232 h 1339743"/>
              <a:gd name="connsiteX1" fmla="*/ 667491 w 9142042"/>
              <a:gd name="connsiteY1" fmla="*/ 0 h 1339743"/>
              <a:gd name="connsiteX2" fmla="*/ 764011 w 9142042"/>
              <a:gd name="connsiteY2" fmla="*/ 201506 h 1339743"/>
              <a:gd name="connsiteX3" fmla="*/ 803961 w 9142042"/>
              <a:gd name="connsiteY3" fmla="*/ 242886 h 1339743"/>
              <a:gd name="connsiteX4" fmla="*/ 842592 w 9142042"/>
              <a:gd name="connsiteY4" fmla="*/ 199125 h 1339743"/>
              <a:gd name="connsiteX5" fmla="*/ 946097 w 9142042"/>
              <a:gd name="connsiteY5" fmla="*/ 0 h 1339743"/>
              <a:gd name="connsiteX6" fmla="*/ 9142042 w 9142042"/>
              <a:gd name="connsiteY6" fmla="*/ 1233 h 1339743"/>
              <a:gd name="connsiteX7" fmla="*/ 9142042 w 9142042"/>
              <a:gd name="connsiteY7" fmla="*/ 1339743 h 1339743"/>
              <a:gd name="connsiteX8" fmla="*/ 97260 w 9142042"/>
              <a:gd name="connsiteY8" fmla="*/ 1177817 h 1339743"/>
              <a:gd name="connsiteX9" fmla="*/ 0 w 9142042"/>
              <a:gd name="connsiteY9" fmla="*/ 1232 h 1339743"/>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982 w 9143024"/>
              <a:gd name="connsiteY0" fmla="*/ 1232 h 1799324"/>
              <a:gd name="connsiteX1" fmla="*/ 668473 w 9143024"/>
              <a:gd name="connsiteY1" fmla="*/ 0 h 1799324"/>
              <a:gd name="connsiteX2" fmla="*/ 764993 w 9143024"/>
              <a:gd name="connsiteY2" fmla="*/ 201506 h 1799324"/>
              <a:gd name="connsiteX3" fmla="*/ 804943 w 9143024"/>
              <a:gd name="connsiteY3" fmla="*/ 242886 h 1799324"/>
              <a:gd name="connsiteX4" fmla="*/ 843574 w 9143024"/>
              <a:gd name="connsiteY4" fmla="*/ 199125 h 1799324"/>
              <a:gd name="connsiteX5" fmla="*/ 947079 w 9143024"/>
              <a:gd name="connsiteY5" fmla="*/ 0 h 1799324"/>
              <a:gd name="connsiteX6" fmla="*/ 9143024 w 9143024"/>
              <a:gd name="connsiteY6" fmla="*/ 1233 h 1799324"/>
              <a:gd name="connsiteX7" fmla="*/ 9143024 w 9143024"/>
              <a:gd name="connsiteY7" fmla="*/ 1339743 h 1799324"/>
              <a:gd name="connsiteX8" fmla="*/ 611 w 9143024"/>
              <a:gd name="connsiteY8" fmla="*/ 1799324 h 1799324"/>
              <a:gd name="connsiteX9" fmla="*/ 982 w 9143024"/>
              <a:gd name="connsiteY9" fmla="*/ 1232 h 1799324"/>
              <a:gd name="connsiteX0" fmla="*/ 982 w 9145405"/>
              <a:gd name="connsiteY0" fmla="*/ 1232 h 1801706"/>
              <a:gd name="connsiteX1" fmla="*/ 668473 w 9145405"/>
              <a:gd name="connsiteY1" fmla="*/ 0 h 1801706"/>
              <a:gd name="connsiteX2" fmla="*/ 764993 w 9145405"/>
              <a:gd name="connsiteY2" fmla="*/ 201506 h 1801706"/>
              <a:gd name="connsiteX3" fmla="*/ 804943 w 9145405"/>
              <a:gd name="connsiteY3" fmla="*/ 242886 h 1801706"/>
              <a:gd name="connsiteX4" fmla="*/ 843574 w 9145405"/>
              <a:gd name="connsiteY4" fmla="*/ 199125 h 1801706"/>
              <a:gd name="connsiteX5" fmla="*/ 947079 w 9145405"/>
              <a:gd name="connsiteY5" fmla="*/ 0 h 1801706"/>
              <a:gd name="connsiteX6" fmla="*/ 9143024 w 9145405"/>
              <a:gd name="connsiteY6" fmla="*/ 1233 h 1801706"/>
              <a:gd name="connsiteX7" fmla="*/ 9145405 w 9145405"/>
              <a:gd name="connsiteY7" fmla="*/ 1801706 h 1801706"/>
              <a:gd name="connsiteX8" fmla="*/ 611 w 9145405"/>
              <a:gd name="connsiteY8" fmla="*/ 1799324 h 1801706"/>
              <a:gd name="connsiteX9" fmla="*/ 982 w 9145405"/>
              <a:gd name="connsiteY9" fmla="*/ 1232 h 180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5405" h="1801706">
                <a:moveTo>
                  <a:pt x="982" y="1232"/>
                </a:moveTo>
                <a:lnTo>
                  <a:pt x="668473" y="0"/>
                </a:lnTo>
                <a:cubicBezTo>
                  <a:pt x="721195" y="108785"/>
                  <a:pt x="751773" y="175313"/>
                  <a:pt x="764993" y="201506"/>
                </a:cubicBezTo>
                <a:cubicBezTo>
                  <a:pt x="778213" y="227699"/>
                  <a:pt x="784702" y="243371"/>
                  <a:pt x="804943" y="242886"/>
                </a:cubicBezTo>
                <a:cubicBezTo>
                  <a:pt x="815659" y="242629"/>
                  <a:pt x="829410" y="227700"/>
                  <a:pt x="843574" y="199125"/>
                </a:cubicBezTo>
                <a:cubicBezTo>
                  <a:pt x="857738" y="170550"/>
                  <a:pt x="881859" y="123469"/>
                  <a:pt x="947079" y="0"/>
                </a:cubicBezTo>
                <a:lnTo>
                  <a:pt x="9143024" y="1233"/>
                </a:lnTo>
                <a:cubicBezTo>
                  <a:pt x="9143818" y="601391"/>
                  <a:pt x="9144611" y="1201548"/>
                  <a:pt x="9145405" y="1801706"/>
                </a:cubicBezTo>
                <a:lnTo>
                  <a:pt x="611" y="1799324"/>
                </a:lnTo>
                <a:cubicBezTo>
                  <a:pt x="-1646" y="1402366"/>
                  <a:pt x="3240" y="445815"/>
                  <a:pt x="982" y="1232"/>
                </a:cubicBezTo>
                <a:close/>
              </a:path>
            </a:pathLst>
          </a:custGeom>
        </p:spPr>
        <p:txBody>
          <a:bodyPr anchor="ctr" anchorCtr="0"/>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4456942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2"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
        <p:nvSpPr>
          <p:cNvPr id="4" name="Content Placeholder 3"/>
          <p:cNvSpPr>
            <a:spLocks noGrp="1"/>
          </p:cNvSpPr>
          <p:nvPr>
            <p:ph sz="quarter" idx="10"/>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Tree>
    <p:extLst>
      <p:ext uri="{BB962C8B-B14F-4D97-AF65-F5344CB8AC3E}">
        <p14:creationId xmlns:p14="http://schemas.microsoft.com/office/powerpoint/2010/main" val="3648000806"/>
      </p:ext>
    </p:extLst>
  </p:cSld>
  <p:clrMapOvr>
    <a:masterClrMapping/>
  </p:clrMapOvr>
  <p:extLst>
    <p:ext uri="{DCECCB84-F9BA-43D5-87BE-67443E8EF086}">
      <p15:sldGuideLst xmlns:p15="http://schemas.microsoft.com/office/powerpoint/2012/main">
        <p15:guide id="1" orient="horz" pos="5099" userDrawn="1">
          <p15:clr>
            <a:srgbClr val="FBAE40"/>
          </p15:clr>
        </p15:guide>
        <p15:guide id="2" pos="3840" userDrawn="1">
          <p15:clr>
            <a:srgbClr val="FBAE40"/>
          </p15:clr>
        </p15:guide>
        <p15:guide id="4" pos="576" userDrawn="1">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7367" y="2150435"/>
            <a:ext cx="10685412" cy="4088141"/>
          </a:xfrm>
        </p:spPr>
        <p:txBody>
          <a:bodyPr anchor="b" anchorCtr="0">
            <a:noAutofit/>
          </a:bodyPr>
          <a:lstStyle>
            <a:lvl1pPr algn="l">
              <a:defRPr sz="5400" b="1" cap="all">
                <a:solidFill>
                  <a:srgbClr val="FFFFFF"/>
                </a:solidFill>
              </a:defRPr>
            </a:lvl1pPr>
          </a:lstStyle>
          <a:p>
            <a:r>
              <a:rPr lang="en-US" dirty="0"/>
              <a:t>Click to edit Master title </a:t>
            </a:r>
            <a:br>
              <a:rPr lang="en-US" dirty="0"/>
            </a:br>
            <a:r>
              <a:rPr lang="en-US" dirty="0"/>
              <a:t>style</a:t>
            </a:r>
          </a:p>
        </p:txBody>
      </p:sp>
      <p:sp>
        <p:nvSpPr>
          <p:cNvPr id="9" name="Freeform 5"/>
          <p:cNvSpPr>
            <a:spLocks noEditPoints="1"/>
          </p:cNvSpPr>
          <p:nvPr userDrawn="1"/>
        </p:nvSpPr>
        <p:spPr bwMode="auto">
          <a:xfrm>
            <a:off x="10559823" y="6355084"/>
            <a:ext cx="1022352" cy="334835"/>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spTree>
    <p:extLst>
      <p:ext uri="{BB962C8B-B14F-4D97-AF65-F5344CB8AC3E}">
        <p14:creationId xmlns:p14="http://schemas.microsoft.com/office/powerpoint/2010/main" val="125845911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5"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
        <p:nvSpPr>
          <p:cNvPr id="4" name="Content Placeholder 3"/>
          <p:cNvSpPr>
            <a:spLocks noGrp="1"/>
          </p:cNvSpPr>
          <p:nvPr>
            <p:ph sz="quarter" idx="10"/>
          </p:nvPr>
        </p:nvSpPr>
        <p:spPr>
          <a:xfrm>
            <a:off x="609599" y="1562100"/>
            <a:ext cx="5193792" cy="4495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1"/>
          </p:nvPr>
        </p:nvSpPr>
        <p:spPr>
          <a:xfrm>
            <a:off x="6388608" y="1562100"/>
            <a:ext cx="5193792" cy="4495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Tree>
    <p:extLst>
      <p:ext uri="{BB962C8B-B14F-4D97-AF65-F5344CB8AC3E}">
        <p14:creationId xmlns:p14="http://schemas.microsoft.com/office/powerpoint/2010/main" val="44778068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9" name="Text Placeholder 11"/>
          <p:cNvSpPr>
            <a:spLocks noGrp="1"/>
          </p:cNvSpPr>
          <p:nvPr>
            <p:ph type="body" sz="quarter" idx="13"/>
          </p:nvPr>
        </p:nvSpPr>
        <p:spPr>
          <a:xfrm>
            <a:off x="609600" y="1346341"/>
            <a:ext cx="5181600" cy="406265"/>
          </a:xfrm>
        </p:spPr>
        <p:txBody>
          <a:bodyPr anchor="b" anchorCtr="0">
            <a:noAutofit/>
          </a:bodyPr>
          <a:lstStyle>
            <a:lvl1pPr marL="0" indent="0">
              <a:lnSpc>
                <a:spcPct val="90000"/>
              </a:lnSpc>
              <a:buNone/>
              <a:defRPr sz="1800" b="1"/>
            </a:lvl1pPr>
            <a:lvl2pPr marL="230172" indent="0">
              <a:buNone/>
              <a:defRPr/>
            </a:lvl2pPr>
          </a:lstStyle>
          <a:p>
            <a:pPr lvl="0"/>
            <a:r>
              <a:rPr lang="en-US"/>
              <a:t>Edit Master text styles</a:t>
            </a:r>
          </a:p>
        </p:txBody>
      </p:sp>
      <p:sp>
        <p:nvSpPr>
          <p:cNvPr id="20" name="Text Placeholder 11"/>
          <p:cNvSpPr>
            <a:spLocks noGrp="1"/>
          </p:cNvSpPr>
          <p:nvPr>
            <p:ph type="body" sz="quarter" idx="14"/>
          </p:nvPr>
        </p:nvSpPr>
        <p:spPr>
          <a:xfrm>
            <a:off x="6400800" y="1346341"/>
            <a:ext cx="5181600" cy="406265"/>
          </a:xfrm>
        </p:spPr>
        <p:txBody>
          <a:bodyPr anchor="b" anchorCtr="0">
            <a:noAutofit/>
          </a:bodyPr>
          <a:lstStyle>
            <a:lvl1pPr marL="0" indent="0">
              <a:lnSpc>
                <a:spcPct val="90000"/>
              </a:lnSpc>
              <a:buNone/>
              <a:defRPr sz="1800" b="1"/>
            </a:lvl1pPr>
            <a:lvl2pPr marL="230172" indent="0">
              <a:buNone/>
              <a:defRPr/>
            </a:lvl2pPr>
          </a:lstStyle>
          <a:p>
            <a:pPr lvl="0"/>
            <a:r>
              <a:rPr lang="en-US"/>
              <a:t>Edit Master text styles</a:t>
            </a:r>
          </a:p>
        </p:txBody>
      </p:sp>
      <p:sp>
        <p:nvSpPr>
          <p:cNvPr id="25"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26"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
        <p:nvSpPr>
          <p:cNvPr id="27"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
        <p:nvSpPr>
          <p:cNvPr id="9" name="Content Placeholder 2"/>
          <p:cNvSpPr>
            <a:spLocks noGrp="1"/>
          </p:cNvSpPr>
          <p:nvPr>
            <p:ph sz="half" idx="1"/>
          </p:nvPr>
        </p:nvSpPr>
        <p:spPr>
          <a:xfrm>
            <a:off x="609600" y="1837348"/>
            <a:ext cx="5181600" cy="4295968"/>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p:cNvSpPr>
            <a:spLocks noGrp="1"/>
          </p:cNvSpPr>
          <p:nvPr>
            <p:ph sz="half" idx="15"/>
          </p:nvPr>
        </p:nvSpPr>
        <p:spPr>
          <a:xfrm>
            <a:off x="6400800" y="1837348"/>
            <a:ext cx="5181600" cy="4295968"/>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163080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0"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
        <p:nvSpPr>
          <p:cNvPr id="12"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Tree>
    <p:extLst>
      <p:ext uri="{BB962C8B-B14F-4D97-AF65-F5344CB8AC3E}">
        <p14:creationId xmlns:p14="http://schemas.microsoft.com/office/powerpoint/2010/main" val="158305826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8" name="Freeform 5"/>
          <p:cNvSpPr>
            <a:spLocks noEditPoints="1"/>
          </p:cNvSpPr>
          <p:nvPr userDrawn="1"/>
        </p:nvSpPr>
        <p:spPr bwMode="auto">
          <a:xfrm>
            <a:off x="10559823" y="6350477"/>
            <a:ext cx="1022352" cy="334835"/>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9"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0"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Tree>
    <p:extLst>
      <p:ext uri="{BB962C8B-B14F-4D97-AF65-F5344CB8AC3E}">
        <p14:creationId xmlns:p14="http://schemas.microsoft.com/office/powerpoint/2010/main" val="224131691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3" y="-20491"/>
            <a:ext cx="6784975" cy="687849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Title 1"/>
          <p:cNvSpPr>
            <a:spLocks noGrp="1"/>
          </p:cNvSpPr>
          <p:nvPr>
            <p:ph type="title"/>
          </p:nvPr>
        </p:nvSpPr>
        <p:spPr>
          <a:xfrm>
            <a:off x="609606" y="1162327"/>
            <a:ext cx="5450311" cy="348813"/>
          </a:xfrm>
        </p:spPr>
        <p:txBody>
          <a:bodyPr vert="horz" lIns="0" tIns="0" rIns="0" bIns="0" rtlCol="0" anchor="b" anchorCtr="0">
            <a:noAutofit/>
          </a:bodyPr>
          <a:lstStyle>
            <a:lvl1pPr>
              <a:defRPr lang="en-US" sz="2000" b="1" i="0" kern="1200" cap="none" dirty="0">
                <a:solidFill>
                  <a:schemeClr val="bg1"/>
                </a:solidFill>
                <a:latin typeface="+mj-lt"/>
                <a:ea typeface="+mj-ea"/>
                <a:cs typeface="+mj-cs"/>
              </a:defRPr>
            </a:lvl1pPr>
          </a:lstStyle>
          <a:p>
            <a:pPr lvl="0" algn="l" defTabSz="342874" rtl="0" eaLnBrk="1" latinLnBrk="0" hangingPunct="1">
              <a:lnSpc>
                <a:spcPct val="85000"/>
              </a:lnSpc>
              <a:spcBef>
                <a:spcPct val="0"/>
              </a:spcBef>
              <a:buNone/>
            </a:pPr>
            <a:r>
              <a:rPr lang="en-US"/>
              <a:t>Click to edit Master title style</a:t>
            </a:r>
            <a:endParaRPr lang="en-US" dirty="0"/>
          </a:p>
        </p:txBody>
      </p:sp>
      <p:sp>
        <p:nvSpPr>
          <p:cNvPr id="13" name="Content Placeholder 12"/>
          <p:cNvSpPr>
            <a:spLocks noGrp="1"/>
          </p:cNvSpPr>
          <p:nvPr>
            <p:ph sz="quarter" idx="11"/>
          </p:nvPr>
        </p:nvSpPr>
        <p:spPr>
          <a:xfrm>
            <a:off x="609606" y="1655064"/>
            <a:ext cx="5450551" cy="4407408"/>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2"/>
          <p:cNvSpPr>
            <a:spLocks noGrp="1"/>
          </p:cNvSpPr>
          <p:nvPr>
            <p:ph sz="quarter" idx="12" hasCustomPrompt="1"/>
          </p:nvPr>
        </p:nvSpPr>
        <p:spPr>
          <a:xfrm>
            <a:off x="6976111" y="4076701"/>
            <a:ext cx="4606292" cy="1955800"/>
          </a:xfrm>
        </p:spPr>
        <p:txBody>
          <a:bodyPr/>
          <a:lstStyle>
            <a:lvl1pPr marL="0" indent="0">
              <a:buNone/>
              <a:defRPr sz="1200" b="1">
                <a:solidFill>
                  <a:schemeClr val="tx1"/>
                </a:solidFill>
              </a:defRPr>
            </a:lvl1pPr>
            <a:lvl2pPr marL="0" indent="0">
              <a:buNone/>
              <a:defRPr sz="1200">
                <a:solidFill>
                  <a:schemeClr val="tx1"/>
                </a:solidFill>
              </a:defRPr>
            </a:lvl2pPr>
            <a:lvl3pPr marL="228584" indent="-228584">
              <a:buFont typeface="Arial" panose="020B0604020202020204" pitchFamily="34" charset="0"/>
              <a:buChar char="•"/>
              <a:defRPr sz="1200">
                <a:solidFill>
                  <a:schemeClr val="tx1"/>
                </a:solidFill>
              </a:defRPr>
            </a:lvl3pPr>
            <a:lvl4pPr marL="466308" indent="-223822">
              <a:buFont typeface="Arial" panose="020B0604020202020204" pitchFamily="34" charset="0"/>
              <a:buChar char="–"/>
              <a:defRPr sz="1200">
                <a:solidFill>
                  <a:schemeClr val="tx1"/>
                </a:solidFill>
              </a:defRPr>
            </a:lvl4pPr>
            <a:lvl5pPr marL="685750">
              <a:defRPr sz="1200">
                <a:solidFill>
                  <a:schemeClr val="tx1"/>
                </a:solidFill>
              </a:defRPr>
            </a:lvl5pPr>
          </a:lstStyle>
          <a:p>
            <a:pPr lvl="0"/>
            <a:r>
              <a:rPr lang="en-US" dirty="0"/>
              <a:t>Caption for content ab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bg1"/>
                </a:solidFill>
              </a:defRPr>
            </a:lvl1pPr>
          </a:lstStyle>
          <a:p>
            <a:r>
              <a:rPr lang="en-US"/>
              <a:t>Division Name or Footer</a:t>
            </a:r>
            <a:endParaRPr lang="en-US" dirty="0"/>
          </a:p>
        </p:txBody>
      </p:sp>
      <p:sp>
        <p:nvSpPr>
          <p:cNvPr id="15"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bg1"/>
                </a:solidFill>
              </a:defRPr>
            </a:lvl1pPr>
          </a:lstStyle>
          <a:p>
            <a:fld id="{7FEEEA1A-CB49-3744-AA40-B896987410F9}" type="slidenum">
              <a:rPr lang="en-US" smtClean="0"/>
              <a:pPr/>
              <a:t>‹#›</a:t>
            </a:fld>
            <a:endParaRPr lang="en-US" dirty="0"/>
          </a:p>
        </p:txBody>
      </p:sp>
      <p:sp>
        <p:nvSpPr>
          <p:cNvPr id="16" name="Freeform 5"/>
          <p:cNvSpPr>
            <a:spLocks noEditPoints="1"/>
          </p:cNvSpPr>
          <p:nvPr userDrawn="1"/>
        </p:nvSpPr>
        <p:spPr bwMode="auto">
          <a:xfrm>
            <a:off x="10559823" y="6350477"/>
            <a:ext cx="1022352" cy="334835"/>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19" name="Picture Placeholder 6"/>
          <p:cNvSpPr>
            <a:spLocks noGrp="1"/>
          </p:cNvSpPr>
          <p:nvPr>
            <p:ph type="pic" sz="quarter" idx="10"/>
          </p:nvPr>
        </p:nvSpPr>
        <p:spPr>
          <a:xfrm>
            <a:off x="6772533" y="-971"/>
            <a:ext cx="5419467" cy="3759696"/>
          </a:xfrm>
          <a:custGeom>
            <a:avLst/>
            <a:gdLst>
              <a:gd name="connsiteX0" fmla="*/ 0 w 4035853"/>
              <a:gd name="connsiteY0" fmla="*/ 0 h 2697096"/>
              <a:gd name="connsiteX1" fmla="*/ 4035853 w 4035853"/>
              <a:gd name="connsiteY1" fmla="*/ 0 h 2697096"/>
              <a:gd name="connsiteX2" fmla="*/ 4035853 w 4035853"/>
              <a:gd name="connsiteY2" fmla="*/ 2697096 h 2697096"/>
              <a:gd name="connsiteX3" fmla="*/ 0 w 4035853"/>
              <a:gd name="connsiteY3" fmla="*/ 2697096 h 2697096"/>
              <a:gd name="connsiteX4" fmla="*/ 0 w 4035853"/>
              <a:gd name="connsiteY4" fmla="*/ 0 h 2697096"/>
              <a:gd name="connsiteX0" fmla="*/ 0 w 4035853"/>
              <a:gd name="connsiteY0" fmla="*/ 0 h 2700356"/>
              <a:gd name="connsiteX1" fmla="*/ 4035853 w 4035853"/>
              <a:gd name="connsiteY1" fmla="*/ 0 h 2700356"/>
              <a:gd name="connsiteX2" fmla="*/ 4035853 w 4035853"/>
              <a:gd name="connsiteY2" fmla="*/ 2697096 h 2700356"/>
              <a:gd name="connsiteX3" fmla="*/ 323823 w 4035853"/>
              <a:gd name="connsiteY3" fmla="*/ 2700356 h 2700356"/>
              <a:gd name="connsiteX4" fmla="*/ 0 w 4035853"/>
              <a:gd name="connsiteY4" fmla="*/ 2697096 h 2700356"/>
              <a:gd name="connsiteX5" fmla="*/ 0 w 4035853"/>
              <a:gd name="connsiteY5" fmla="*/ 0 h 2700356"/>
              <a:gd name="connsiteX0" fmla="*/ 0 w 4035853"/>
              <a:gd name="connsiteY0" fmla="*/ 0 h 2700356"/>
              <a:gd name="connsiteX1" fmla="*/ 4035853 w 4035853"/>
              <a:gd name="connsiteY1" fmla="*/ 0 h 2700356"/>
              <a:gd name="connsiteX2" fmla="*/ 4035853 w 4035853"/>
              <a:gd name="connsiteY2" fmla="*/ 2697096 h 2700356"/>
              <a:gd name="connsiteX3" fmla="*/ 323823 w 4035853"/>
              <a:gd name="connsiteY3" fmla="*/ 2700356 h 2700356"/>
              <a:gd name="connsiteX4" fmla="*/ 0 w 4035853"/>
              <a:gd name="connsiteY4" fmla="*/ 2697096 h 2700356"/>
              <a:gd name="connsiteX5" fmla="*/ 0 w 4035853"/>
              <a:gd name="connsiteY5" fmla="*/ 0 h 2700356"/>
              <a:gd name="connsiteX0" fmla="*/ 0 w 4035853"/>
              <a:gd name="connsiteY0" fmla="*/ 0 h 2700356"/>
              <a:gd name="connsiteX1" fmla="*/ 4035853 w 4035853"/>
              <a:gd name="connsiteY1" fmla="*/ 0 h 2700356"/>
              <a:gd name="connsiteX2" fmla="*/ 4035853 w 4035853"/>
              <a:gd name="connsiteY2" fmla="*/ 2697096 h 2700356"/>
              <a:gd name="connsiteX3" fmla="*/ 612823 w 4035853"/>
              <a:gd name="connsiteY3" fmla="*/ 2689412 h 2700356"/>
              <a:gd name="connsiteX4" fmla="*/ 323823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612823 w 4035853"/>
              <a:gd name="connsiteY3" fmla="*/ 2689412 h 2700356"/>
              <a:gd name="connsiteX4" fmla="*/ 323823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612823 w 4035853"/>
              <a:gd name="connsiteY3" fmla="*/ 2689412 h 2700356"/>
              <a:gd name="connsiteX4" fmla="*/ 323823 w 4035853"/>
              <a:gd name="connsiteY4" fmla="*/ 2700356 h 2700356"/>
              <a:gd name="connsiteX5" fmla="*/ 0 w 4035853"/>
              <a:gd name="connsiteY5" fmla="*/ 2697096 h 2700356"/>
              <a:gd name="connsiteX6" fmla="*/ 0 w 4035853"/>
              <a:gd name="connsiteY6" fmla="*/ 0 h 2700356"/>
              <a:gd name="connsiteX0" fmla="*/ 0 w 4035853"/>
              <a:gd name="connsiteY0" fmla="*/ 0 h 2700645"/>
              <a:gd name="connsiteX1" fmla="*/ 4035853 w 4035853"/>
              <a:gd name="connsiteY1" fmla="*/ 0 h 2700645"/>
              <a:gd name="connsiteX2" fmla="*/ 4035853 w 4035853"/>
              <a:gd name="connsiteY2" fmla="*/ 2697096 h 2700645"/>
              <a:gd name="connsiteX3" fmla="*/ 612823 w 4035853"/>
              <a:gd name="connsiteY3" fmla="*/ 2689412 h 2700645"/>
              <a:gd name="connsiteX4" fmla="*/ 323823 w 4035853"/>
              <a:gd name="connsiteY4" fmla="*/ 2700356 h 2700645"/>
              <a:gd name="connsiteX5" fmla="*/ 0 w 4035853"/>
              <a:gd name="connsiteY5" fmla="*/ 2697096 h 2700645"/>
              <a:gd name="connsiteX6" fmla="*/ 0 w 4035853"/>
              <a:gd name="connsiteY6" fmla="*/ 0 h 2700645"/>
              <a:gd name="connsiteX0" fmla="*/ 0 w 4035853"/>
              <a:gd name="connsiteY0" fmla="*/ 0 h 2700645"/>
              <a:gd name="connsiteX1" fmla="*/ 4035853 w 4035853"/>
              <a:gd name="connsiteY1" fmla="*/ 0 h 2700645"/>
              <a:gd name="connsiteX2" fmla="*/ 4035853 w 4035853"/>
              <a:gd name="connsiteY2" fmla="*/ 2697096 h 2700645"/>
              <a:gd name="connsiteX3" fmla="*/ 612823 w 4035853"/>
              <a:gd name="connsiteY3" fmla="*/ 2689412 h 2700645"/>
              <a:gd name="connsiteX4" fmla="*/ 171423 w 4035853"/>
              <a:gd name="connsiteY4" fmla="*/ 2700356 h 2700645"/>
              <a:gd name="connsiteX5" fmla="*/ 0 w 4035853"/>
              <a:gd name="connsiteY5" fmla="*/ 2697096 h 2700645"/>
              <a:gd name="connsiteX6" fmla="*/ 0 w 4035853"/>
              <a:gd name="connsiteY6" fmla="*/ 0 h 2700645"/>
              <a:gd name="connsiteX0" fmla="*/ 0 w 4035853"/>
              <a:gd name="connsiteY0" fmla="*/ 0 h 2700645"/>
              <a:gd name="connsiteX1" fmla="*/ 4035853 w 4035853"/>
              <a:gd name="connsiteY1" fmla="*/ 0 h 2700645"/>
              <a:gd name="connsiteX2" fmla="*/ 4035853 w 4035853"/>
              <a:gd name="connsiteY2" fmla="*/ 2697096 h 2700645"/>
              <a:gd name="connsiteX3" fmla="*/ 612823 w 4035853"/>
              <a:gd name="connsiteY3" fmla="*/ 2689412 h 2700645"/>
              <a:gd name="connsiteX4" fmla="*/ 171423 w 4035853"/>
              <a:gd name="connsiteY4" fmla="*/ 2700356 h 2700645"/>
              <a:gd name="connsiteX5" fmla="*/ 0 w 4035853"/>
              <a:gd name="connsiteY5" fmla="*/ 2697096 h 2700645"/>
              <a:gd name="connsiteX6" fmla="*/ 0 w 4035853"/>
              <a:gd name="connsiteY6" fmla="*/ 0 h 2700645"/>
              <a:gd name="connsiteX0" fmla="*/ 0 w 4035853"/>
              <a:gd name="connsiteY0" fmla="*/ 0 h 2700356"/>
              <a:gd name="connsiteX1" fmla="*/ 4035853 w 4035853"/>
              <a:gd name="connsiteY1" fmla="*/ 0 h 2700356"/>
              <a:gd name="connsiteX2" fmla="*/ 4035853 w 4035853"/>
              <a:gd name="connsiteY2" fmla="*/ 2697096 h 2700356"/>
              <a:gd name="connsiteX3" fmla="*/ 612823 w 4035853"/>
              <a:gd name="connsiteY3" fmla="*/ 2689412 h 2700356"/>
              <a:gd name="connsiteX4" fmla="*/ 171423 w 4035853"/>
              <a:gd name="connsiteY4" fmla="*/ 2700356 h 2700356"/>
              <a:gd name="connsiteX5" fmla="*/ 0 w 4035853"/>
              <a:gd name="connsiteY5" fmla="*/ 2697096 h 2700356"/>
              <a:gd name="connsiteX6" fmla="*/ 0 w 4035853"/>
              <a:gd name="connsiteY6" fmla="*/ 0 h 2700356"/>
              <a:gd name="connsiteX0" fmla="*/ 0 w 4035853"/>
              <a:gd name="connsiteY0" fmla="*/ 0 h 2697975"/>
              <a:gd name="connsiteX1" fmla="*/ 4035853 w 4035853"/>
              <a:gd name="connsiteY1" fmla="*/ 0 h 2697975"/>
              <a:gd name="connsiteX2" fmla="*/ 4035853 w 4035853"/>
              <a:gd name="connsiteY2" fmla="*/ 2697096 h 2697975"/>
              <a:gd name="connsiteX3" fmla="*/ 612823 w 4035853"/>
              <a:gd name="connsiteY3" fmla="*/ 2689412 h 2697975"/>
              <a:gd name="connsiteX4" fmla="*/ 171423 w 4035853"/>
              <a:gd name="connsiteY4" fmla="*/ 2697975 h 2697975"/>
              <a:gd name="connsiteX5" fmla="*/ 0 w 4035853"/>
              <a:gd name="connsiteY5" fmla="*/ 2697096 h 2697975"/>
              <a:gd name="connsiteX6" fmla="*/ 0 w 4035853"/>
              <a:gd name="connsiteY6" fmla="*/ 0 h 2697975"/>
              <a:gd name="connsiteX0" fmla="*/ 0 w 4035853"/>
              <a:gd name="connsiteY0" fmla="*/ 0 h 2698065"/>
              <a:gd name="connsiteX1" fmla="*/ 4035853 w 4035853"/>
              <a:gd name="connsiteY1" fmla="*/ 0 h 2698065"/>
              <a:gd name="connsiteX2" fmla="*/ 4035853 w 4035853"/>
              <a:gd name="connsiteY2" fmla="*/ 2697096 h 2698065"/>
              <a:gd name="connsiteX3" fmla="*/ 612823 w 4035853"/>
              <a:gd name="connsiteY3" fmla="*/ 2689412 h 2698065"/>
              <a:gd name="connsiteX4" fmla="*/ 171423 w 4035853"/>
              <a:gd name="connsiteY4" fmla="*/ 2697975 h 2698065"/>
              <a:gd name="connsiteX5" fmla="*/ 0 w 4035853"/>
              <a:gd name="connsiteY5" fmla="*/ 2697096 h 2698065"/>
              <a:gd name="connsiteX6" fmla="*/ 0 w 4035853"/>
              <a:gd name="connsiteY6" fmla="*/ 0 h 2698065"/>
              <a:gd name="connsiteX0" fmla="*/ 0 w 4035853"/>
              <a:gd name="connsiteY0" fmla="*/ 0 h 2697975"/>
              <a:gd name="connsiteX1" fmla="*/ 4035853 w 4035853"/>
              <a:gd name="connsiteY1" fmla="*/ 0 h 2697975"/>
              <a:gd name="connsiteX2" fmla="*/ 4035853 w 4035853"/>
              <a:gd name="connsiteY2" fmla="*/ 2697096 h 2697975"/>
              <a:gd name="connsiteX3" fmla="*/ 581867 w 4035853"/>
              <a:gd name="connsiteY3" fmla="*/ 2696556 h 2697975"/>
              <a:gd name="connsiteX4" fmla="*/ 171423 w 4035853"/>
              <a:gd name="connsiteY4" fmla="*/ 2697975 h 2697975"/>
              <a:gd name="connsiteX5" fmla="*/ 0 w 4035853"/>
              <a:gd name="connsiteY5" fmla="*/ 2697096 h 2697975"/>
              <a:gd name="connsiteX6" fmla="*/ 0 w 4035853"/>
              <a:gd name="connsiteY6" fmla="*/ 0 h 2697975"/>
              <a:gd name="connsiteX0" fmla="*/ 0 w 4035853"/>
              <a:gd name="connsiteY0" fmla="*/ 0 h 2697975"/>
              <a:gd name="connsiteX1" fmla="*/ 4035853 w 4035853"/>
              <a:gd name="connsiteY1" fmla="*/ 0 h 2697975"/>
              <a:gd name="connsiteX2" fmla="*/ 4035853 w 4035853"/>
              <a:gd name="connsiteY2" fmla="*/ 2697096 h 2697975"/>
              <a:gd name="connsiteX3" fmla="*/ 581867 w 4035853"/>
              <a:gd name="connsiteY3" fmla="*/ 2696556 h 2697975"/>
              <a:gd name="connsiteX4" fmla="*/ 171423 w 4035853"/>
              <a:gd name="connsiteY4" fmla="*/ 2697975 h 2697975"/>
              <a:gd name="connsiteX5" fmla="*/ 0 w 4035853"/>
              <a:gd name="connsiteY5" fmla="*/ 2697096 h 2697975"/>
              <a:gd name="connsiteX6" fmla="*/ 0 w 4035853"/>
              <a:gd name="connsiteY6" fmla="*/ 0 h 2697975"/>
              <a:gd name="connsiteX0" fmla="*/ 0 w 4035853"/>
              <a:gd name="connsiteY0" fmla="*/ 0 h 2698071"/>
              <a:gd name="connsiteX1" fmla="*/ 4035853 w 4035853"/>
              <a:gd name="connsiteY1" fmla="*/ 0 h 2698071"/>
              <a:gd name="connsiteX2" fmla="*/ 4035853 w 4035853"/>
              <a:gd name="connsiteY2" fmla="*/ 2697096 h 2698071"/>
              <a:gd name="connsiteX3" fmla="*/ 438992 w 4035853"/>
              <a:gd name="connsiteY3" fmla="*/ 2696556 h 2698071"/>
              <a:gd name="connsiteX4" fmla="*/ 171423 w 4035853"/>
              <a:gd name="connsiteY4" fmla="*/ 2697975 h 2698071"/>
              <a:gd name="connsiteX5" fmla="*/ 0 w 4035853"/>
              <a:gd name="connsiteY5" fmla="*/ 2697096 h 2698071"/>
              <a:gd name="connsiteX6" fmla="*/ 0 w 4035853"/>
              <a:gd name="connsiteY6" fmla="*/ 0 h 2698071"/>
              <a:gd name="connsiteX0" fmla="*/ 0 w 4035853"/>
              <a:gd name="connsiteY0" fmla="*/ 0 h 2698071"/>
              <a:gd name="connsiteX1" fmla="*/ 4035853 w 4035853"/>
              <a:gd name="connsiteY1" fmla="*/ 0 h 2698071"/>
              <a:gd name="connsiteX2" fmla="*/ 4035853 w 4035853"/>
              <a:gd name="connsiteY2" fmla="*/ 2697096 h 2698071"/>
              <a:gd name="connsiteX3" fmla="*/ 441373 w 4035853"/>
              <a:gd name="connsiteY3" fmla="*/ 2696556 h 2698071"/>
              <a:gd name="connsiteX4" fmla="*/ 171423 w 4035853"/>
              <a:gd name="connsiteY4" fmla="*/ 2697975 h 2698071"/>
              <a:gd name="connsiteX5" fmla="*/ 0 w 4035853"/>
              <a:gd name="connsiteY5" fmla="*/ 2697096 h 2698071"/>
              <a:gd name="connsiteX6" fmla="*/ 0 w 4035853"/>
              <a:gd name="connsiteY6" fmla="*/ 0 h 2698071"/>
              <a:gd name="connsiteX0" fmla="*/ 0 w 4035853"/>
              <a:gd name="connsiteY0" fmla="*/ 0 h 2700356"/>
              <a:gd name="connsiteX1" fmla="*/ 4035853 w 4035853"/>
              <a:gd name="connsiteY1" fmla="*/ 0 h 2700356"/>
              <a:gd name="connsiteX2" fmla="*/ 4035853 w 4035853"/>
              <a:gd name="connsiteY2" fmla="*/ 2697096 h 2700356"/>
              <a:gd name="connsiteX3" fmla="*/ 441373 w 4035853"/>
              <a:gd name="connsiteY3" fmla="*/ 2696556 h 2700356"/>
              <a:gd name="connsiteX4" fmla="*/ 173804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441373 w 4035853"/>
              <a:gd name="connsiteY3" fmla="*/ 2696556 h 2700356"/>
              <a:gd name="connsiteX4" fmla="*/ 173804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441373 w 4035853"/>
              <a:gd name="connsiteY3" fmla="*/ 2696556 h 2700356"/>
              <a:gd name="connsiteX4" fmla="*/ 173804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441373 w 4035853"/>
              <a:gd name="connsiteY3" fmla="*/ 2696556 h 2700356"/>
              <a:gd name="connsiteX4" fmla="*/ 164279 w 4035853"/>
              <a:gd name="connsiteY4" fmla="*/ 2700356 h 2700356"/>
              <a:gd name="connsiteX5" fmla="*/ 0 w 4035853"/>
              <a:gd name="connsiteY5" fmla="*/ 2697096 h 2700356"/>
              <a:gd name="connsiteX6" fmla="*/ 0 w 4035853"/>
              <a:gd name="connsiteY6" fmla="*/ 0 h 2700356"/>
              <a:gd name="connsiteX0" fmla="*/ 0 w 4035853"/>
              <a:gd name="connsiteY0" fmla="*/ 0 h 2700357"/>
              <a:gd name="connsiteX1" fmla="*/ 4035853 w 4035853"/>
              <a:gd name="connsiteY1" fmla="*/ 0 h 2700357"/>
              <a:gd name="connsiteX2" fmla="*/ 4035853 w 4035853"/>
              <a:gd name="connsiteY2" fmla="*/ 2697096 h 2700357"/>
              <a:gd name="connsiteX3" fmla="*/ 434229 w 4035853"/>
              <a:gd name="connsiteY3" fmla="*/ 2696556 h 2700357"/>
              <a:gd name="connsiteX4" fmla="*/ 164279 w 4035853"/>
              <a:gd name="connsiteY4" fmla="*/ 2700356 h 2700357"/>
              <a:gd name="connsiteX5" fmla="*/ 0 w 4035853"/>
              <a:gd name="connsiteY5" fmla="*/ 2697096 h 2700357"/>
              <a:gd name="connsiteX6" fmla="*/ 0 w 4035853"/>
              <a:gd name="connsiteY6" fmla="*/ 0 h 2700357"/>
              <a:gd name="connsiteX0" fmla="*/ 0 w 4035853"/>
              <a:gd name="connsiteY0" fmla="*/ 0 h 2701319"/>
              <a:gd name="connsiteX1" fmla="*/ 4035853 w 4035853"/>
              <a:gd name="connsiteY1" fmla="*/ 0 h 2701319"/>
              <a:gd name="connsiteX2" fmla="*/ 4035853 w 4035853"/>
              <a:gd name="connsiteY2" fmla="*/ 2697096 h 2701319"/>
              <a:gd name="connsiteX3" fmla="*/ 431848 w 4035853"/>
              <a:gd name="connsiteY3" fmla="*/ 2701319 h 2701319"/>
              <a:gd name="connsiteX4" fmla="*/ 164279 w 4035853"/>
              <a:gd name="connsiteY4" fmla="*/ 2700356 h 2701319"/>
              <a:gd name="connsiteX5" fmla="*/ 0 w 4035853"/>
              <a:gd name="connsiteY5" fmla="*/ 2697096 h 2701319"/>
              <a:gd name="connsiteX6" fmla="*/ 0 w 4035853"/>
              <a:gd name="connsiteY6" fmla="*/ 0 h 2701319"/>
              <a:gd name="connsiteX0" fmla="*/ 0 w 4035853"/>
              <a:gd name="connsiteY0" fmla="*/ 0 h 2701319"/>
              <a:gd name="connsiteX1" fmla="*/ 4035853 w 4035853"/>
              <a:gd name="connsiteY1" fmla="*/ 0 h 2701319"/>
              <a:gd name="connsiteX2" fmla="*/ 4035853 w 4035853"/>
              <a:gd name="connsiteY2" fmla="*/ 2697096 h 2701319"/>
              <a:gd name="connsiteX3" fmla="*/ 431848 w 4035853"/>
              <a:gd name="connsiteY3" fmla="*/ 2701319 h 2701319"/>
              <a:gd name="connsiteX4" fmla="*/ 311945 w 4035853"/>
              <a:gd name="connsiteY4" fmla="*/ 2697956 h 2701319"/>
              <a:gd name="connsiteX5" fmla="*/ 164279 w 4035853"/>
              <a:gd name="connsiteY5" fmla="*/ 2700356 h 2701319"/>
              <a:gd name="connsiteX6" fmla="*/ 0 w 4035853"/>
              <a:gd name="connsiteY6" fmla="*/ 2697096 h 2701319"/>
              <a:gd name="connsiteX7" fmla="*/ 0 w 4035853"/>
              <a:gd name="connsiteY7" fmla="*/ 0 h 2701319"/>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36082"/>
              <a:gd name="connsiteX1" fmla="*/ 4035853 w 4035853"/>
              <a:gd name="connsiteY1" fmla="*/ 0 h 2936082"/>
              <a:gd name="connsiteX2" fmla="*/ 4035853 w 4035853"/>
              <a:gd name="connsiteY2" fmla="*/ 2697096 h 2936082"/>
              <a:gd name="connsiteX3" fmla="*/ 431848 w 4035853"/>
              <a:gd name="connsiteY3" fmla="*/ 2701319 h 2936082"/>
              <a:gd name="connsiteX4" fmla="*/ 302420 w 4035853"/>
              <a:gd name="connsiteY4" fmla="*/ 2936082 h 2936082"/>
              <a:gd name="connsiteX5" fmla="*/ 164279 w 4035853"/>
              <a:gd name="connsiteY5" fmla="*/ 2700356 h 2936082"/>
              <a:gd name="connsiteX6" fmla="*/ 0 w 4035853"/>
              <a:gd name="connsiteY6" fmla="*/ 2697096 h 2936082"/>
              <a:gd name="connsiteX7" fmla="*/ 0 w 4035853"/>
              <a:gd name="connsiteY7" fmla="*/ 0 h 2936082"/>
              <a:gd name="connsiteX0" fmla="*/ 0 w 4035853"/>
              <a:gd name="connsiteY0" fmla="*/ 0 h 2936082"/>
              <a:gd name="connsiteX1" fmla="*/ 4035853 w 4035853"/>
              <a:gd name="connsiteY1" fmla="*/ 0 h 2936082"/>
              <a:gd name="connsiteX2" fmla="*/ 4035853 w 4035853"/>
              <a:gd name="connsiteY2" fmla="*/ 2697096 h 2936082"/>
              <a:gd name="connsiteX3" fmla="*/ 431848 w 4035853"/>
              <a:gd name="connsiteY3" fmla="*/ 2701319 h 2936082"/>
              <a:gd name="connsiteX4" fmla="*/ 302420 w 4035853"/>
              <a:gd name="connsiteY4" fmla="*/ 2936082 h 2936082"/>
              <a:gd name="connsiteX5" fmla="*/ 164279 w 4035853"/>
              <a:gd name="connsiteY5" fmla="*/ 2700356 h 2936082"/>
              <a:gd name="connsiteX6" fmla="*/ 0 w 4035853"/>
              <a:gd name="connsiteY6" fmla="*/ 2697096 h 2936082"/>
              <a:gd name="connsiteX7" fmla="*/ 0 w 4035853"/>
              <a:gd name="connsiteY7" fmla="*/ 0 h 2936082"/>
              <a:gd name="connsiteX0" fmla="*/ 0 w 4035853"/>
              <a:gd name="connsiteY0" fmla="*/ 0 h 2936082"/>
              <a:gd name="connsiteX1" fmla="*/ 4035853 w 4035853"/>
              <a:gd name="connsiteY1" fmla="*/ 0 h 2936082"/>
              <a:gd name="connsiteX2" fmla="*/ 4035853 w 4035853"/>
              <a:gd name="connsiteY2" fmla="*/ 2697096 h 2936082"/>
              <a:gd name="connsiteX3" fmla="*/ 431848 w 4035853"/>
              <a:gd name="connsiteY3" fmla="*/ 2701319 h 2936082"/>
              <a:gd name="connsiteX4" fmla="*/ 302420 w 4035853"/>
              <a:gd name="connsiteY4" fmla="*/ 2936082 h 2936082"/>
              <a:gd name="connsiteX5" fmla="*/ 164279 w 4035853"/>
              <a:gd name="connsiteY5" fmla="*/ 2700356 h 2936082"/>
              <a:gd name="connsiteX6" fmla="*/ 0 w 4035853"/>
              <a:gd name="connsiteY6" fmla="*/ 2697096 h 2936082"/>
              <a:gd name="connsiteX7" fmla="*/ 0 w 4035853"/>
              <a:gd name="connsiteY7" fmla="*/ 0 h 2936082"/>
              <a:gd name="connsiteX0" fmla="*/ 0 w 4035853"/>
              <a:gd name="connsiteY0" fmla="*/ 0 h 2936085"/>
              <a:gd name="connsiteX1" fmla="*/ 4035853 w 4035853"/>
              <a:gd name="connsiteY1" fmla="*/ 0 h 2936085"/>
              <a:gd name="connsiteX2" fmla="*/ 4035853 w 4035853"/>
              <a:gd name="connsiteY2" fmla="*/ 2697096 h 2936085"/>
              <a:gd name="connsiteX3" fmla="*/ 431848 w 4035853"/>
              <a:gd name="connsiteY3" fmla="*/ 2701319 h 2936085"/>
              <a:gd name="connsiteX4" fmla="*/ 302420 w 4035853"/>
              <a:gd name="connsiteY4" fmla="*/ 2936082 h 2936085"/>
              <a:gd name="connsiteX5" fmla="*/ 166660 w 4035853"/>
              <a:gd name="connsiteY5" fmla="*/ 2695594 h 2936085"/>
              <a:gd name="connsiteX6" fmla="*/ 0 w 4035853"/>
              <a:gd name="connsiteY6" fmla="*/ 2697096 h 2936085"/>
              <a:gd name="connsiteX7" fmla="*/ 0 w 4035853"/>
              <a:gd name="connsiteY7" fmla="*/ 0 h 2936085"/>
              <a:gd name="connsiteX0" fmla="*/ 0 w 4035853"/>
              <a:gd name="connsiteY0" fmla="*/ 0 h 2936085"/>
              <a:gd name="connsiteX1" fmla="*/ 4035853 w 4035853"/>
              <a:gd name="connsiteY1" fmla="*/ 0 h 2936085"/>
              <a:gd name="connsiteX2" fmla="*/ 4035853 w 4035853"/>
              <a:gd name="connsiteY2" fmla="*/ 2697096 h 2936085"/>
              <a:gd name="connsiteX3" fmla="*/ 431848 w 4035853"/>
              <a:gd name="connsiteY3" fmla="*/ 2701319 h 2936085"/>
              <a:gd name="connsiteX4" fmla="*/ 302420 w 4035853"/>
              <a:gd name="connsiteY4" fmla="*/ 2936082 h 2936085"/>
              <a:gd name="connsiteX5" fmla="*/ 166660 w 4035853"/>
              <a:gd name="connsiteY5" fmla="*/ 2695594 h 2936085"/>
              <a:gd name="connsiteX6" fmla="*/ 0 w 4035853"/>
              <a:gd name="connsiteY6" fmla="*/ 2697096 h 2936085"/>
              <a:gd name="connsiteX7" fmla="*/ 0 w 4035853"/>
              <a:gd name="connsiteY7" fmla="*/ 0 h 2936085"/>
              <a:gd name="connsiteX0" fmla="*/ 0 w 4035853"/>
              <a:gd name="connsiteY0" fmla="*/ 0 h 2936085"/>
              <a:gd name="connsiteX1" fmla="*/ 4035853 w 4035853"/>
              <a:gd name="connsiteY1" fmla="*/ 0 h 2936085"/>
              <a:gd name="connsiteX2" fmla="*/ 4035853 w 4035853"/>
              <a:gd name="connsiteY2" fmla="*/ 2697096 h 2936085"/>
              <a:gd name="connsiteX3" fmla="*/ 431848 w 4035853"/>
              <a:gd name="connsiteY3" fmla="*/ 2701319 h 2936085"/>
              <a:gd name="connsiteX4" fmla="*/ 302420 w 4035853"/>
              <a:gd name="connsiteY4" fmla="*/ 2936082 h 2936085"/>
              <a:gd name="connsiteX5" fmla="*/ 166660 w 4035853"/>
              <a:gd name="connsiteY5" fmla="*/ 2695594 h 2936085"/>
              <a:gd name="connsiteX6" fmla="*/ 0 w 4035853"/>
              <a:gd name="connsiteY6" fmla="*/ 2697096 h 2936085"/>
              <a:gd name="connsiteX7" fmla="*/ 0 w 4035853"/>
              <a:gd name="connsiteY7" fmla="*/ 0 h 2936085"/>
              <a:gd name="connsiteX0" fmla="*/ 0 w 4035853"/>
              <a:gd name="connsiteY0" fmla="*/ 0 h 2936090"/>
              <a:gd name="connsiteX1" fmla="*/ 4035853 w 4035853"/>
              <a:gd name="connsiteY1" fmla="*/ 0 h 2936090"/>
              <a:gd name="connsiteX2" fmla="*/ 4035853 w 4035853"/>
              <a:gd name="connsiteY2" fmla="*/ 2697096 h 2936090"/>
              <a:gd name="connsiteX3" fmla="*/ 431848 w 4035853"/>
              <a:gd name="connsiteY3" fmla="*/ 2701319 h 2936090"/>
              <a:gd name="connsiteX4" fmla="*/ 302420 w 4035853"/>
              <a:gd name="connsiteY4" fmla="*/ 2936082 h 2936090"/>
              <a:gd name="connsiteX5" fmla="*/ 166660 w 4035853"/>
              <a:gd name="connsiteY5" fmla="*/ 2695594 h 2936090"/>
              <a:gd name="connsiteX6" fmla="*/ 0 w 4035853"/>
              <a:gd name="connsiteY6" fmla="*/ 2697096 h 2936090"/>
              <a:gd name="connsiteX7" fmla="*/ 0 w 4035853"/>
              <a:gd name="connsiteY7" fmla="*/ 0 h 2936090"/>
              <a:gd name="connsiteX0" fmla="*/ 0 w 4035853"/>
              <a:gd name="connsiteY0" fmla="*/ 0 h 2936082"/>
              <a:gd name="connsiteX1" fmla="*/ 4035853 w 4035853"/>
              <a:gd name="connsiteY1" fmla="*/ 0 h 2936082"/>
              <a:gd name="connsiteX2" fmla="*/ 4035853 w 4035853"/>
              <a:gd name="connsiteY2" fmla="*/ 2697096 h 2936082"/>
              <a:gd name="connsiteX3" fmla="*/ 431848 w 4035853"/>
              <a:gd name="connsiteY3" fmla="*/ 2696556 h 2936082"/>
              <a:gd name="connsiteX4" fmla="*/ 302420 w 4035853"/>
              <a:gd name="connsiteY4" fmla="*/ 2936082 h 2936082"/>
              <a:gd name="connsiteX5" fmla="*/ 166660 w 4035853"/>
              <a:gd name="connsiteY5" fmla="*/ 2695594 h 2936082"/>
              <a:gd name="connsiteX6" fmla="*/ 0 w 4035853"/>
              <a:gd name="connsiteY6" fmla="*/ 2697096 h 2936082"/>
              <a:gd name="connsiteX7" fmla="*/ 0 w 4035853"/>
              <a:gd name="connsiteY7" fmla="*/ 0 h 2936082"/>
              <a:gd name="connsiteX0" fmla="*/ 0 w 4035853"/>
              <a:gd name="connsiteY0" fmla="*/ 0 h 2967038"/>
              <a:gd name="connsiteX1" fmla="*/ 4035853 w 4035853"/>
              <a:gd name="connsiteY1" fmla="*/ 0 h 2967038"/>
              <a:gd name="connsiteX2" fmla="*/ 4035853 w 4035853"/>
              <a:gd name="connsiteY2" fmla="*/ 2697096 h 2967038"/>
              <a:gd name="connsiteX3" fmla="*/ 431848 w 4035853"/>
              <a:gd name="connsiteY3" fmla="*/ 2696556 h 2967038"/>
              <a:gd name="connsiteX4" fmla="*/ 300039 w 4035853"/>
              <a:gd name="connsiteY4" fmla="*/ 2967038 h 2967038"/>
              <a:gd name="connsiteX5" fmla="*/ 166660 w 4035853"/>
              <a:gd name="connsiteY5" fmla="*/ 2695594 h 2967038"/>
              <a:gd name="connsiteX6" fmla="*/ 0 w 4035853"/>
              <a:gd name="connsiteY6" fmla="*/ 2697096 h 2967038"/>
              <a:gd name="connsiteX7" fmla="*/ 0 w 4035853"/>
              <a:gd name="connsiteY7" fmla="*/ 0 h 2967038"/>
              <a:gd name="connsiteX0" fmla="*/ 0 w 4035853"/>
              <a:gd name="connsiteY0" fmla="*/ 0 h 2933700"/>
              <a:gd name="connsiteX1" fmla="*/ 4035853 w 4035853"/>
              <a:gd name="connsiteY1" fmla="*/ 0 h 2933700"/>
              <a:gd name="connsiteX2" fmla="*/ 4035853 w 4035853"/>
              <a:gd name="connsiteY2" fmla="*/ 2697096 h 2933700"/>
              <a:gd name="connsiteX3" fmla="*/ 431848 w 4035853"/>
              <a:gd name="connsiteY3" fmla="*/ 2696556 h 2933700"/>
              <a:gd name="connsiteX4" fmla="*/ 302420 w 4035853"/>
              <a:gd name="connsiteY4" fmla="*/ 2933700 h 2933700"/>
              <a:gd name="connsiteX5" fmla="*/ 166660 w 4035853"/>
              <a:gd name="connsiteY5" fmla="*/ 2695594 h 2933700"/>
              <a:gd name="connsiteX6" fmla="*/ 0 w 4035853"/>
              <a:gd name="connsiteY6" fmla="*/ 2697096 h 2933700"/>
              <a:gd name="connsiteX7" fmla="*/ 0 w 4035853"/>
              <a:gd name="connsiteY7" fmla="*/ 0 h 2933700"/>
              <a:gd name="connsiteX0" fmla="*/ 0 w 4035853"/>
              <a:gd name="connsiteY0" fmla="*/ 0 h 2933700"/>
              <a:gd name="connsiteX1" fmla="*/ 4035853 w 4035853"/>
              <a:gd name="connsiteY1" fmla="*/ 0 h 2933700"/>
              <a:gd name="connsiteX2" fmla="*/ 4035853 w 4035853"/>
              <a:gd name="connsiteY2" fmla="*/ 2697096 h 2933700"/>
              <a:gd name="connsiteX3" fmla="*/ 431848 w 4035853"/>
              <a:gd name="connsiteY3" fmla="*/ 2696556 h 2933700"/>
              <a:gd name="connsiteX4" fmla="*/ 302420 w 4035853"/>
              <a:gd name="connsiteY4" fmla="*/ 2933700 h 2933700"/>
              <a:gd name="connsiteX5" fmla="*/ 166660 w 4035853"/>
              <a:gd name="connsiteY5" fmla="*/ 2695594 h 2933700"/>
              <a:gd name="connsiteX6" fmla="*/ 0 w 4035853"/>
              <a:gd name="connsiteY6" fmla="*/ 2697096 h 2933700"/>
              <a:gd name="connsiteX7" fmla="*/ 0 w 4035853"/>
              <a:gd name="connsiteY7" fmla="*/ 0 h 2933700"/>
              <a:gd name="connsiteX0" fmla="*/ 0 w 4035853"/>
              <a:gd name="connsiteY0" fmla="*/ 0 h 2933700"/>
              <a:gd name="connsiteX1" fmla="*/ 4035853 w 4035853"/>
              <a:gd name="connsiteY1" fmla="*/ 0 h 2933700"/>
              <a:gd name="connsiteX2" fmla="*/ 4035853 w 4035853"/>
              <a:gd name="connsiteY2" fmla="*/ 2697096 h 2933700"/>
              <a:gd name="connsiteX3" fmla="*/ 431848 w 4035853"/>
              <a:gd name="connsiteY3" fmla="*/ 2696556 h 2933700"/>
              <a:gd name="connsiteX4" fmla="*/ 302420 w 4035853"/>
              <a:gd name="connsiteY4" fmla="*/ 2933700 h 2933700"/>
              <a:gd name="connsiteX5" fmla="*/ 154811 w 4035853"/>
              <a:gd name="connsiteY5" fmla="*/ 2695594 h 2933700"/>
              <a:gd name="connsiteX6" fmla="*/ 0 w 4035853"/>
              <a:gd name="connsiteY6" fmla="*/ 2697096 h 2933700"/>
              <a:gd name="connsiteX7" fmla="*/ 0 w 4035853"/>
              <a:gd name="connsiteY7" fmla="*/ 0 h 2933700"/>
              <a:gd name="connsiteX0" fmla="*/ 0 w 4035853"/>
              <a:gd name="connsiteY0" fmla="*/ 0 h 2947646"/>
              <a:gd name="connsiteX1" fmla="*/ 4035853 w 4035853"/>
              <a:gd name="connsiteY1" fmla="*/ 0 h 2947646"/>
              <a:gd name="connsiteX2" fmla="*/ 4035853 w 4035853"/>
              <a:gd name="connsiteY2" fmla="*/ 2697096 h 2947646"/>
              <a:gd name="connsiteX3" fmla="*/ 431848 w 4035853"/>
              <a:gd name="connsiteY3" fmla="*/ 2696556 h 2947646"/>
              <a:gd name="connsiteX4" fmla="*/ 341259 w 4035853"/>
              <a:gd name="connsiteY4" fmla="*/ 2895599 h 2947646"/>
              <a:gd name="connsiteX5" fmla="*/ 302420 w 4035853"/>
              <a:gd name="connsiteY5" fmla="*/ 2933700 h 2947646"/>
              <a:gd name="connsiteX6" fmla="*/ 154811 w 4035853"/>
              <a:gd name="connsiteY6" fmla="*/ 2695594 h 2947646"/>
              <a:gd name="connsiteX7" fmla="*/ 0 w 4035853"/>
              <a:gd name="connsiteY7" fmla="*/ 2697096 h 2947646"/>
              <a:gd name="connsiteX8" fmla="*/ 0 w 4035853"/>
              <a:gd name="connsiteY8" fmla="*/ 0 h 2947646"/>
              <a:gd name="connsiteX0" fmla="*/ 0 w 4035853"/>
              <a:gd name="connsiteY0" fmla="*/ 0 h 2947646"/>
              <a:gd name="connsiteX1" fmla="*/ 4035853 w 4035853"/>
              <a:gd name="connsiteY1" fmla="*/ 0 h 2947646"/>
              <a:gd name="connsiteX2" fmla="*/ 4035853 w 4035853"/>
              <a:gd name="connsiteY2" fmla="*/ 2697096 h 2947646"/>
              <a:gd name="connsiteX3" fmla="*/ 431848 w 4035853"/>
              <a:gd name="connsiteY3" fmla="*/ 2696556 h 2947646"/>
              <a:gd name="connsiteX4" fmla="*/ 341259 w 4035853"/>
              <a:gd name="connsiteY4" fmla="*/ 2895599 h 2947646"/>
              <a:gd name="connsiteX5" fmla="*/ 302420 w 4035853"/>
              <a:gd name="connsiteY5" fmla="*/ 2933700 h 2947646"/>
              <a:gd name="connsiteX6" fmla="*/ 154811 w 4035853"/>
              <a:gd name="connsiteY6" fmla="*/ 2695594 h 2947646"/>
              <a:gd name="connsiteX7" fmla="*/ 0 w 4035853"/>
              <a:gd name="connsiteY7" fmla="*/ 2697096 h 2947646"/>
              <a:gd name="connsiteX8" fmla="*/ 0 w 4035853"/>
              <a:gd name="connsiteY8" fmla="*/ 0 h 2947646"/>
              <a:gd name="connsiteX0" fmla="*/ 0 w 4035853"/>
              <a:gd name="connsiteY0" fmla="*/ 0 h 2933799"/>
              <a:gd name="connsiteX1" fmla="*/ 4035853 w 4035853"/>
              <a:gd name="connsiteY1" fmla="*/ 0 h 2933799"/>
              <a:gd name="connsiteX2" fmla="*/ 4035853 w 4035853"/>
              <a:gd name="connsiteY2" fmla="*/ 2697096 h 2933799"/>
              <a:gd name="connsiteX3" fmla="*/ 431848 w 4035853"/>
              <a:gd name="connsiteY3" fmla="*/ 2696556 h 2933799"/>
              <a:gd name="connsiteX4" fmla="*/ 341259 w 4035853"/>
              <a:gd name="connsiteY4" fmla="*/ 2895599 h 2933799"/>
              <a:gd name="connsiteX5" fmla="*/ 302420 w 4035853"/>
              <a:gd name="connsiteY5" fmla="*/ 2933700 h 2933799"/>
              <a:gd name="connsiteX6" fmla="*/ 272534 w 4035853"/>
              <a:gd name="connsiteY6" fmla="*/ 2893218 h 2933799"/>
              <a:gd name="connsiteX7" fmla="*/ 154811 w 4035853"/>
              <a:gd name="connsiteY7" fmla="*/ 2695594 h 2933799"/>
              <a:gd name="connsiteX8" fmla="*/ 0 w 4035853"/>
              <a:gd name="connsiteY8" fmla="*/ 2697096 h 2933799"/>
              <a:gd name="connsiteX9" fmla="*/ 0 w 4035853"/>
              <a:gd name="connsiteY9" fmla="*/ 0 h 2933799"/>
              <a:gd name="connsiteX0" fmla="*/ 0 w 4035853"/>
              <a:gd name="connsiteY0" fmla="*/ 0 h 2933799"/>
              <a:gd name="connsiteX1" fmla="*/ 4035853 w 4035853"/>
              <a:gd name="connsiteY1" fmla="*/ 0 h 2933799"/>
              <a:gd name="connsiteX2" fmla="*/ 4035853 w 4035853"/>
              <a:gd name="connsiteY2" fmla="*/ 2697096 h 2933799"/>
              <a:gd name="connsiteX3" fmla="*/ 431848 w 4035853"/>
              <a:gd name="connsiteY3" fmla="*/ 2696556 h 2933799"/>
              <a:gd name="connsiteX4" fmla="*/ 341259 w 4035853"/>
              <a:gd name="connsiteY4" fmla="*/ 2895599 h 2933799"/>
              <a:gd name="connsiteX5" fmla="*/ 302420 w 4035853"/>
              <a:gd name="connsiteY5" fmla="*/ 2933700 h 2933799"/>
              <a:gd name="connsiteX6" fmla="*/ 260684 w 4035853"/>
              <a:gd name="connsiteY6" fmla="*/ 2893218 h 2933799"/>
              <a:gd name="connsiteX7" fmla="*/ 154811 w 4035853"/>
              <a:gd name="connsiteY7" fmla="*/ 2695594 h 2933799"/>
              <a:gd name="connsiteX8" fmla="*/ 0 w 4035853"/>
              <a:gd name="connsiteY8" fmla="*/ 2697096 h 2933799"/>
              <a:gd name="connsiteX9" fmla="*/ 0 w 4035853"/>
              <a:gd name="connsiteY9" fmla="*/ 0 h 2933799"/>
              <a:gd name="connsiteX0" fmla="*/ 0 w 4035853"/>
              <a:gd name="connsiteY0" fmla="*/ 0 h 2933799"/>
              <a:gd name="connsiteX1" fmla="*/ 4035853 w 4035853"/>
              <a:gd name="connsiteY1" fmla="*/ 0 h 2933799"/>
              <a:gd name="connsiteX2" fmla="*/ 4035853 w 4035853"/>
              <a:gd name="connsiteY2" fmla="*/ 2697096 h 2933799"/>
              <a:gd name="connsiteX3" fmla="*/ 431848 w 4035853"/>
              <a:gd name="connsiteY3" fmla="*/ 2696556 h 2933799"/>
              <a:gd name="connsiteX4" fmla="*/ 341259 w 4035853"/>
              <a:gd name="connsiteY4" fmla="*/ 2895599 h 2933799"/>
              <a:gd name="connsiteX5" fmla="*/ 302420 w 4035853"/>
              <a:gd name="connsiteY5" fmla="*/ 2933700 h 2933799"/>
              <a:gd name="connsiteX6" fmla="*/ 260684 w 4035853"/>
              <a:gd name="connsiteY6" fmla="*/ 2893218 h 2933799"/>
              <a:gd name="connsiteX7" fmla="*/ 154811 w 4035853"/>
              <a:gd name="connsiteY7" fmla="*/ 2695594 h 2933799"/>
              <a:gd name="connsiteX8" fmla="*/ 0 w 4035853"/>
              <a:gd name="connsiteY8" fmla="*/ 2697096 h 2933799"/>
              <a:gd name="connsiteX9" fmla="*/ 0 w 4035853"/>
              <a:gd name="connsiteY9" fmla="*/ 0 h 2933799"/>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4125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3414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3414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41325"/>
              <a:gd name="connsiteX1" fmla="*/ 4035853 w 4035853"/>
              <a:gd name="connsiteY1" fmla="*/ 0 h 2941325"/>
              <a:gd name="connsiteX2" fmla="*/ 4035853 w 4035853"/>
              <a:gd name="connsiteY2" fmla="*/ 2697096 h 2941325"/>
              <a:gd name="connsiteX3" fmla="*/ 431848 w 4035853"/>
              <a:gd name="connsiteY3" fmla="*/ 2696556 h 2941325"/>
              <a:gd name="connsiteX4" fmla="*/ 334149 w 4035853"/>
              <a:gd name="connsiteY4" fmla="*/ 2895599 h 2941325"/>
              <a:gd name="connsiteX5" fmla="*/ 295311 w 4035853"/>
              <a:gd name="connsiteY5" fmla="*/ 2940844 h 2941325"/>
              <a:gd name="connsiteX6" fmla="*/ 260684 w 4035853"/>
              <a:gd name="connsiteY6" fmla="*/ 2893218 h 2941325"/>
              <a:gd name="connsiteX7" fmla="*/ 154811 w 4035853"/>
              <a:gd name="connsiteY7" fmla="*/ 2695594 h 2941325"/>
              <a:gd name="connsiteX8" fmla="*/ 0 w 4035853"/>
              <a:gd name="connsiteY8" fmla="*/ 2697096 h 2941325"/>
              <a:gd name="connsiteX9" fmla="*/ 0 w 4035853"/>
              <a:gd name="connsiteY9" fmla="*/ 0 h 2941325"/>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3414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3414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38488"/>
              <a:gd name="connsiteX1" fmla="*/ 4035853 w 4035853"/>
              <a:gd name="connsiteY1" fmla="*/ 0 h 2938488"/>
              <a:gd name="connsiteX2" fmla="*/ 4035853 w 4035853"/>
              <a:gd name="connsiteY2" fmla="*/ 2697096 h 2938488"/>
              <a:gd name="connsiteX3" fmla="*/ 431848 w 4035853"/>
              <a:gd name="connsiteY3" fmla="*/ 2696556 h 2938488"/>
              <a:gd name="connsiteX4" fmla="*/ 334149 w 4035853"/>
              <a:gd name="connsiteY4" fmla="*/ 2895599 h 2938488"/>
              <a:gd name="connsiteX5" fmla="*/ 295311 w 4035853"/>
              <a:gd name="connsiteY5" fmla="*/ 2938463 h 2938488"/>
              <a:gd name="connsiteX6" fmla="*/ 260684 w 4035853"/>
              <a:gd name="connsiteY6" fmla="*/ 2893218 h 2938488"/>
              <a:gd name="connsiteX7" fmla="*/ 154811 w 4035853"/>
              <a:gd name="connsiteY7" fmla="*/ 2695594 h 2938488"/>
              <a:gd name="connsiteX8" fmla="*/ 0 w 4035853"/>
              <a:gd name="connsiteY8" fmla="*/ 2697096 h 2938488"/>
              <a:gd name="connsiteX9" fmla="*/ 0 w 4035853"/>
              <a:gd name="connsiteY9" fmla="*/ 0 h 2938488"/>
              <a:gd name="connsiteX0" fmla="*/ 0 w 4035853"/>
              <a:gd name="connsiteY0" fmla="*/ 0 h 2938488"/>
              <a:gd name="connsiteX1" fmla="*/ 4035853 w 4035853"/>
              <a:gd name="connsiteY1" fmla="*/ 0 h 2938488"/>
              <a:gd name="connsiteX2" fmla="*/ 4035853 w 4035853"/>
              <a:gd name="connsiteY2" fmla="*/ 2697096 h 2938488"/>
              <a:gd name="connsiteX3" fmla="*/ 431848 w 4035853"/>
              <a:gd name="connsiteY3" fmla="*/ 2696556 h 2938488"/>
              <a:gd name="connsiteX4" fmla="*/ 334149 w 4035853"/>
              <a:gd name="connsiteY4" fmla="*/ 2895599 h 2938488"/>
              <a:gd name="connsiteX5" fmla="*/ 295311 w 4035853"/>
              <a:gd name="connsiteY5" fmla="*/ 2938463 h 2938488"/>
              <a:gd name="connsiteX6" fmla="*/ 260684 w 4035853"/>
              <a:gd name="connsiteY6" fmla="*/ 2893218 h 2938488"/>
              <a:gd name="connsiteX7" fmla="*/ 159550 w 4035853"/>
              <a:gd name="connsiteY7" fmla="*/ 2695594 h 2938488"/>
              <a:gd name="connsiteX8" fmla="*/ 0 w 4035853"/>
              <a:gd name="connsiteY8" fmla="*/ 2697096 h 2938488"/>
              <a:gd name="connsiteX9" fmla="*/ 0 w 4035853"/>
              <a:gd name="connsiteY9" fmla="*/ 0 h 2938488"/>
              <a:gd name="connsiteX0" fmla="*/ 0 w 4035853"/>
              <a:gd name="connsiteY0" fmla="*/ 0 h 2938488"/>
              <a:gd name="connsiteX1" fmla="*/ 4035853 w 4035853"/>
              <a:gd name="connsiteY1" fmla="*/ 0 h 2938488"/>
              <a:gd name="connsiteX2" fmla="*/ 4035853 w 4035853"/>
              <a:gd name="connsiteY2" fmla="*/ 2697096 h 2938488"/>
              <a:gd name="connsiteX3" fmla="*/ 431848 w 4035853"/>
              <a:gd name="connsiteY3" fmla="*/ 2696556 h 2938488"/>
              <a:gd name="connsiteX4" fmla="*/ 334149 w 4035853"/>
              <a:gd name="connsiteY4" fmla="*/ 2895599 h 2938488"/>
              <a:gd name="connsiteX5" fmla="*/ 295311 w 4035853"/>
              <a:gd name="connsiteY5" fmla="*/ 2938463 h 2938488"/>
              <a:gd name="connsiteX6" fmla="*/ 260684 w 4035853"/>
              <a:gd name="connsiteY6" fmla="*/ 2893218 h 2938488"/>
              <a:gd name="connsiteX7" fmla="*/ 159550 w 4035853"/>
              <a:gd name="connsiteY7" fmla="*/ 2695594 h 2938488"/>
              <a:gd name="connsiteX8" fmla="*/ 0 w 4035853"/>
              <a:gd name="connsiteY8" fmla="*/ 2697096 h 2938488"/>
              <a:gd name="connsiteX9" fmla="*/ 0 w 4035853"/>
              <a:gd name="connsiteY9" fmla="*/ 0 h 2938488"/>
              <a:gd name="connsiteX0" fmla="*/ 0 w 4035853"/>
              <a:gd name="connsiteY0" fmla="*/ 0 h 2938488"/>
              <a:gd name="connsiteX1" fmla="*/ 4035853 w 4035853"/>
              <a:gd name="connsiteY1" fmla="*/ 0 h 2938488"/>
              <a:gd name="connsiteX2" fmla="*/ 4035853 w 4035853"/>
              <a:gd name="connsiteY2" fmla="*/ 2697096 h 2938488"/>
              <a:gd name="connsiteX3" fmla="*/ 431848 w 4035853"/>
              <a:gd name="connsiteY3" fmla="*/ 2696556 h 2938488"/>
              <a:gd name="connsiteX4" fmla="*/ 334149 w 4035853"/>
              <a:gd name="connsiteY4" fmla="*/ 2895599 h 2938488"/>
              <a:gd name="connsiteX5" fmla="*/ 300051 w 4035853"/>
              <a:gd name="connsiteY5" fmla="*/ 2938463 h 2938488"/>
              <a:gd name="connsiteX6" fmla="*/ 260684 w 4035853"/>
              <a:gd name="connsiteY6" fmla="*/ 2893218 h 2938488"/>
              <a:gd name="connsiteX7" fmla="*/ 159550 w 4035853"/>
              <a:gd name="connsiteY7" fmla="*/ 2695594 h 2938488"/>
              <a:gd name="connsiteX8" fmla="*/ 0 w 4035853"/>
              <a:gd name="connsiteY8" fmla="*/ 2697096 h 2938488"/>
              <a:gd name="connsiteX9" fmla="*/ 0 w 4035853"/>
              <a:gd name="connsiteY9" fmla="*/ 0 h 2938488"/>
              <a:gd name="connsiteX0" fmla="*/ 0 w 4035853"/>
              <a:gd name="connsiteY0" fmla="*/ 0 h 2938470"/>
              <a:gd name="connsiteX1" fmla="*/ 4035853 w 4035853"/>
              <a:gd name="connsiteY1" fmla="*/ 0 h 2938470"/>
              <a:gd name="connsiteX2" fmla="*/ 4035853 w 4035853"/>
              <a:gd name="connsiteY2" fmla="*/ 2697096 h 2938470"/>
              <a:gd name="connsiteX3" fmla="*/ 431848 w 4035853"/>
              <a:gd name="connsiteY3" fmla="*/ 2696556 h 2938470"/>
              <a:gd name="connsiteX4" fmla="*/ 334149 w 4035853"/>
              <a:gd name="connsiteY4" fmla="*/ 2895599 h 2938470"/>
              <a:gd name="connsiteX5" fmla="*/ 300051 w 4035853"/>
              <a:gd name="connsiteY5" fmla="*/ 2938463 h 2938470"/>
              <a:gd name="connsiteX6" fmla="*/ 260684 w 4035853"/>
              <a:gd name="connsiteY6" fmla="*/ 2893218 h 2938470"/>
              <a:gd name="connsiteX7" fmla="*/ 159550 w 4035853"/>
              <a:gd name="connsiteY7" fmla="*/ 2695594 h 2938470"/>
              <a:gd name="connsiteX8" fmla="*/ 0 w 4035853"/>
              <a:gd name="connsiteY8" fmla="*/ 2697096 h 2938470"/>
              <a:gd name="connsiteX9" fmla="*/ 0 w 4035853"/>
              <a:gd name="connsiteY9" fmla="*/ 0 h 2938470"/>
              <a:gd name="connsiteX0" fmla="*/ 0 w 4035853"/>
              <a:gd name="connsiteY0" fmla="*/ 0 h 2938470"/>
              <a:gd name="connsiteX1" fmla="*/ 4035853 w 4035853"/>
              <a:gd name="connsiteY1" fmla="*/ 0 h 2938470"/>
              <a:gd name="connsiteX2" fmla="*/ 4035853 w 4035853"/>
              <a:gd name="connsiteY2" fmla="*/ 2697096 h 2938470"/>
              <a:gd name="connsiteX3" fmla="*/ 431848 w 4035853"/>
              <a:gd name="connsiteY3" fmla="*/ 2696556 h 2938470"/>
              <a:gd name="connsiteX4" fmla="*/ 334149 w 4035853"/>
              <a:gd name="connsiteY4" fmla="*/ 2895599 h 2938470"/>
              <a:gd name="connsiteX5" fmla="*/ 300051 w 4035853"/>
              <a:gd name="connsiteY5" fmla="*/ 2938463 h 2938470"/>
              <a:gd name="connsiteX6" fmla="*/ 260684 w 4035853"/>
              <a:gd name="connsiteY6" fmla="*/ 2893218 h 2938470"/>
              <a:gd name="connsiteX7" fmla="*/ 159550 w 4035853"/>
              <a:gd name="connsiteY7" fmla="*/ 2695594 h 2938470"/>
              <a:gd name="connsiteX8" fmla="*/ 0 w 4035853"/>
              <a:gd name="connsiteY8" fmla="*/ 2697096 h 2938470"/>
              <a:gd name="connsiteX9" fmla="*/ 0 w 4035853"/>
              <a:gd name="connsiteY9" fmla="*/ 0 h 2938470"/>
              <a:gd name="connsiteX0" fmla="*/ 0 w 4035853"/>
              <a:gd name="connsiteY0" fmla="*/ 0 h 2938470"/>
              <a:gd name="connsiteX1" fmla="*/ 4035853 w 4035853"/>
              <a:gd name="connsiteY1" fmla="*/ 0 h 2938470"/>
              <a:gd name="connsiteX2" fmla="*/ 4035853 w 4035853"/>
              <a:gd name="connsiteY2" fmla="*/ 2697096 h 2938470"/>
              <a:gd name="connsiteX3" fmla="*/ 431848 w 4035853"/>
              <a:gd name="connsiteY3" fmla="*/ 2696556 h 2938470"/>
              <a:gd name="connsiteX4" fmla="*/ 334149 w 4035853"/>
              <a:gd name="connsiteY4" fmla="*/ 2895599 h 2938470"/>
              <a:gd name="connsiteX5" fmla="*/ 300051 w 4035853"/>
              <a:gd name="connsiteY5" fmla="*/ 2938463 h 2938470"/>
              <a:gd name="connsiteX6" fmla="*/ 260684 w 4035853"/>
              <a:gd name="connsiteY6" fmla="*/ 2893218 h 2938470"/>
              <a:gd name="connsiteX7" fmla="*/ 159550 w 4035853"/>
              <a:gd name="connsiteY7" fmla="*/ 2695594 h 2938470"/>
              <a:gd name="connsiteX8" fmla="*/ 0 w 4035853"/>
              <a:gd name="connsiteY8" fmla="*/ 2697096 h 2938470"/>
              <a:gd name="connsiteX9" fmla="*/ 0 w 4035853"/>
              <a:gd name="connsiteY9" fmla="*/ 0 h 2938470"/>
              <a:gd name="connsiteX0" fmla="*/ 0 w 4035853"/>
              <a:gd name="connsiteY0" fmla="*/ 0 h 2938470"/>
              <a:gd name="connsiteX1" fmla="*/ 4035853 w 4035853"/>
              <a:gd name="connsiteY1" fmla="*/ 0 h 2938470"/>
              <a:gd name="connsiteX2" fmla="*/ 4035853 w 4035853"/>
              <a:gd name="connsiteY2" fmla="*/ 2697096 h 2938470"/>
              <a:gd name="connsiteX3" fmla="*/ 431848 w 4035853"/>
              <a:gd name="connsiteY3" fmla="*/ 2696556 h 2938470"/>
              <a:gd name="connsiteX4" fmla="*/ 334149 w 4035853"/>
              <a:gd name="connsiteY4" fmla="*/ 2895599 h 2938470"/>
              <a:gd name="connsiteX5" fmla="*/ 300051 w 4035853"/>
              <a:gd name="connsiteY5" fmla="*/ 2938463 h 2938470"/>
              <a:gd name="connsiteX6" fmla="*/ 260684 w 4035853"/>
              <a:gd name="connsiteY6" fmla="*/ 2893218 h 2938470"/>
              <a:gd name="connsiteX7" fmla="*/ 159550 w 4035853"/>
              <a:gd name="connsiteY7" fmla="*/ 2695594 h 2938470"/>
              <a:gd name="connsiteX8" fmla="*/ 0 w 4035853"/>
              <a:gd name="connsiteY8" fmla="*/ 2697096 h 2938470"/>
              <a:gd name="connsiteX9" fmla="*/ 0 w 4035853"/>
              <a:gd name="connsiteY9" fmla="*/ 0 h 2938470"/>
              <a:gd name="connsiteX0" fmla="*/ 0 w 4035853"/>
              <a:gd name="connsiteY0" fmla="*/ 0 h 2948969"/>
              <a:gd name="connsiteX1" fmla="*/ 4035853 w 4035853"/>
              <a:gd name="connsiteY1" fmla="*/ 0 h 2948969"/>
              <a:gd name="connsiteX2" fmla="*/ 4035853 w 4035853"/>
              <a:gd name="connsiteY2" fmla="*/ 2697096 h 2948969"/>
              <a:gd name="connsiteX3" fmla="*/ 431848 w 4035853"/>
              <a:gd name="connsiteY3" fmla="*/ 2696556 h 2948969"/>
              <a:gd name="connsiteX4" fmla="*/ 334149 w 4035853"/>
              <a:gd name="connsiteY4" fmla="*/ 2895599 h 2948969"/>
              <a:gd name="connsiteX5" fmla="*/ 300051 w 4035853"/>
              <a:gd name="connsiteY5" fmla="*/ 2938463 h 2948969"/>
              <a:gd name="connsiteX6" fmla="*/ 260684 w 4035853"/>
              <a:gd name="connsiteY6" fmla="*/ 2893218 h 2948969"/>
              <a:gd name="connsiteX7" fmla="*/ 159550 w 4035853"/>
              <a:gd name="connsiteY7" fmla="*/ 2695594 h 2948969"/>
              <a:gd name="connsiteX8" fmla="*/ 0 w 4035853"/>
              <a:gd name="connsiteY8" fmla="*/ 2697096 h 2948969"/>
              <a:gd name="connsiteX9" fmla="*/ 0 w 4035853"/>
              <a:gd name="connsiteY9" fmla="*/ 0 h 2948969"/>
              <a:gd name="connsiteX0" fmla="*/ 0 w 4035853"/>
              <a:gd name="connsiteY0" fmla="*/ 0 h 2938468"/>
              <a:gd name="connsiteX1" fmla="*/ 4035853 w 4035853"/>
              <a:gd name="connsiteY1" fmla="*/ 0 h 2938468"/>
              <a:gd name="connsiteX2" fmla="*/ 4035853 w 4035853"/>
              <a:gd name="connsiteY2" fmla="*/ 2697096 h 2938468"/>
              <a:gd name="connsiteX3" fmla="*/ 431848 w 4035853"/>
              <a:gd name="connsiteY3" fmla="*/ 2696556 h 2938468"/>
              <a:gd name="connsiteX4" fmla="*/ 334149 w 4035853"/>
              <a:gd name="connsiteY4" fmla="*/ 2895599 h 2938468"/>
              <a:gd name="connsiteX5" fmla="*/ 300051 w 4035853"/>
              <a:gd name="connsiteY5" fmla="*/ 2938463 h 2938468"/>
              <a:gd name="connsiteX6" fmla="*/ 260684 w 4035853"/>
              <a:gd name="connsiteY6" fmla="*/ 2893218 h 2938468"/>
              <a:gd name="connsiteX7" fmla="*/ 159550 w 4035853"/>
              <a:gd name="connsiteY7" fmla="*/ 2695594 h 2938468"/>
              <a:gd name="connsiteX8" fmla="*/ 0 w 4035853"/>
              <a:gd name="connsiteY8" fmla="*/ 2697096 h 2938468"/>
              <a:gd name="connsiteX9" fmla="*/ 0 w 4035853"/>
              <a:gd name="connsiteY9" fmla="*/ 0 h 2938468"/>
              <a:gd name="connsiteX0" fmla="*/ 0 w 4035853"/>
              <a:gd name="connsiteY0" fmla="*/ 0 h 2938468"/>
              <a:gd name="connsiteX1" fmla="*/ 4035853 w 4035853"/>
              <a:gd name="connsiteY1" fmla="*/ 0 h 2938468"/>
              <a:gd name="connsiteX2" fmla="*/ 4035853 w 4035853"/>
              <a:gd name="connsiteY2" fmla="*/ 2697096 h 2938468"/>
              <a:gd name="connsiteX3" fmla="*/ 431848 w 4035853"/>
              <a:gd name="connsiteY3" fmla="*/ 2696556 h 2938468"/>
              <a:gd name="connsiteX4" fmla="*/ 334149 w 4035853"/>
              <a:gd name="connsiteY4" fmla="*/ 2895599 h 2938468"/>
              <a:gd name="connsiteX5" fmla="*/ 300051 w 4035853"/>
              <a:gd name="connsiteY5" fmla="*/ 2938463 h 2938468"/>
              <a:gd name="connsiteX6" fmla="*/ 260684 w 4035853"/>
              <a:gd name="connsiteY6" fmla="*/ 2893218 h 2938468"/>
              <a:gd name="connsiteX7" fmla="*/ 159550 w 4035853"/>
              <a:gd name="connsiteY7" fmla="*/ 2695594 h 2938468"/>
              <a:gd name="connsiteX8" fmla="*/ 0 w 4035853"/>
              <a:gd name="connsiteY8" fmla="*/ 2697096 h 2938468"/>
              <a:gd name="connsiteX9" fmla="*/ 0 w 4035853"/>
              <a:gd name="connsiteY9" fmla="*/ 0 h 2938468"/>
              <a:gd name="connsiteX0" fmla="*/ 0 w 4035853"/>
              <a:gd name="connsiteY0" fmla="*/ 0 h 2938468"/>
              <a:gd name="connsiteX1" fmla="*/ 4035853 w 4035853"/>
              <a:gd name="connsiteY1" fmla="*/ 0 h 2938468"/>
              <a:gd name="connsiteX2" fmla="*/ 4035853 w 4035853"/>
              <a:gd name="connsiteY2" fmla="*/ 2697096 h 2938468"/>
              <a:gd name="connsiteX3" fmla="*/ 431848 w 4035853"/>
              <a:gd name="connsiteY3" fmla="*/ 2696556 h 2938468"/>
              <a:gd name="connsiteX4" fmla="*/ 334149 w 4035853"/>
              <a:gd name="connsiteY4" fmla="*/ 2895599 h 2938468"/>
              <a:gd name="connsiteX5" fmla="*/ 300051 w 4035853"/>
              <a:gd name="connsiteY5" fmla="*/ 2938463 h 2938468"/>
              <a:gd name="connsiteX6" fmla="*/ 260684 w 4035853"/>
              <a:gd name="connsiteY6" fmla="*/ 2893218 h 2938468"/>
              <a:gd name="connsiteX7" fmla="*/ 159550 w 4035853"/>
              <a:gd name="connsiteY7" fmla="*/ 2695594 h 2938468"/>
              <a:gd name="connsiteX8" fmla="*/ 0 w 4035853"/>
              <a:gd name="connsiteY8" fmla="*/ 2697096 h 2938468"/>
              <a:gd name="connsiteX9" fmla="*/ 0 w 4035853"/>
              <a:gd name="connsiteY9" fmla="*/ 0 h 2938468"/>
              <a:gd name="connsiteX0" fmla="*/ 0 w 4035853"/>
              <a:gd name="connsiteY0" fmla="*/ 0 h 2938602"/>
              <a:gd name="connsiteX1" fmla="*/ 4035853 w 4035853"/>
              <a:gd name="connsiteY1" fmla="*/ 0 h 2938602"/>
              <a:gd name="connsiteX2" fmla="*/ 4035853 w 4035853"/>
              <a:gd name="connsiteY2" fmla="*/ 2697096 h 2938602"/>
              <a:gd name="connsiteX3" fmla="*/ 431848 w 4035853"/>
              <a:gd name="connsiteY3" fmla="*/ 2696556 h 2938602"/>
              <a:gd name="connsiteX4" fmla="*/ 334149 w 4035853"/>
              <a:gd name="connsiteY4" fmla="*/ 2895599 h 2938602"/>
              <a:gd name="connsiteX5" fmla="*/ 300051 w 4035853"/>
              <a:gd name="connsiteY5" fmla="*/ 2938463 h 2938602"/>
              <a:gd name="connsiteX6" fmla="*/ 260684 w 4035853"/>
              <a:gd name="connsiteY6" fmla="*/ 2893218 h 2938602"/>
              <a:gd name="connsiteX7" fmla="*/ 159550 w 4035853"/>
              <a:gd name="connsiteY7" fmla="*/ 2695594 h 2938602"/>
              <a:gd name="connsiteX8" fmla="*/ 0 w 4035853"/>
              <a:gd name="connsiteY8" fmla="*/ 2697096 h 2938602"/>
              <a:gd name="connsiteX9" fmla="*/ 0 w 4035853"/>
              <a:gd name="connsiteY9" fmla="*/ 0 h 2938602"/>
              <a:gd name="connsiteX0" fmla="*/ 0 w 4063711"/>
              <a:gd name="connsiteY0" fmla="*/ 0 h 3787688"/>
              <a:gd name="connsiteX1" fmla="*/ 4063711 w 4063711"/>
              <a:gd name="connsiteY1" fmla="*/ 849086 h 3787688"/>
              <a:gd name="connsiteX2" fmla="*/ 4063711 w 4063711"/>
              <a:gd name="connsiteY2" fmla="*/ 3546182 h 3787688"/>
              <a:gd name="connsiteX3" fmla="*/ 459706 w 4063711"/>
              <a:gd name="connsiteY3" fmla="*/ 3545642 h 3787688"/>
              <a:gd name="connsiteX4" fmla="*/ 362007 w 4063711"/>
              <a:gd name="connsiteY4" fmla="*/ 3744685 h 3787688"/>
              <a:gd name="connsiteX5" fmla="*/ 327909 w 4063711"/>
              <a:gd name="connsiteY5" fmla="*/ 3787549 h 3787688"/>
              <a:gd name="connsiteX6" fmla="*/ 288542 w 4063711"/>
              <a:gd name="connsiteY6" fmla="*/ 3742304 h 3787688"/>
              <a:gd name="connsiteX7" fmla="*/ 187408 w 4063711"/>
              <a:gd name="connsiteY7" fmla="*/ 3544680 h 3787688"/>
              <a:gd name="connsiteX8" fmla="*/ 27858 w 4063711"/>
              <a:gd name="connsiteY8" fmla="*/ 3546182 h 3787688"/>
              <a:gd name="connsiteX9" fmla="*/ 0 w 4063711"/>
              <a:gd name="connsiteY9" fmla="*/ 0 h 3787688"/>
              <a:gd name="connsiteX0" fmla="*/ 0 w 4063711"/>
              <a:gd name="connsiteY0" fmla="*/ 0 h 3787688"/>
              <a:gd name="connsiteX1" fmla="*/ 4063711 w 4063711"/>
              <a:gd name="connsiteY1" fmla="*/ 37323 h 3787688"/>
              <a:gd name="connsiteX2" fmla="*/ 4063711 w 4063711"/>
              <a:gd name="connsiteY2" fmla="*/ 3546182 h 3787688"/>
              <a:gd name="connsiteX3" fmla="*/ 459706 w 4063711"/>
              <a:gd name="connsiteY3" fmla="*/ 3545642 h 3787688"/>
              <a:gd name="connsiteX4" fmla="*/ 362007 w 4063711"/>
              <a:gd name="connsiteY4" fmla="*/ 3744685 h 3787688"/>
              <a:gd name="connsiteX5" fmla="*/ 327909 w 4063711"/>
              <a:gd name="connsiteY5" fmla="*/ 3787549 h 3787688"/>
              <a:gd name="connsiteX6" fmla="*/ 288542 w 4063711"/>
              <a:gd name="connsiteY6" fmla="*/ 3742304 h 3787688"/>
              <a:gd name="connsiteX7" fmla="*/ 187408 w 4063711"/>
              <a:gd name="connsiteY7" fmla="*/ 3544680 h 3787688"/>
              <a:gd name="connsiteX8" fmla="*/ 27858 w 4063711"/>
              <a:gd name="connsiteY8" fmla="*/ 3546182 h 3787688"/>
              <a:gd name="connsiteX9" fmla="*/ 0 w 4063711"/>
              <a:gd name="connsiteY9" fmla="*/ 0 h 3787688"/>
              <a:gd name="connsiteX0" fmla="*/ 0 w 4045138"/>
              <a:gd name="connsiteY0" fmla="*/ 0 h 3759696"/>
              <a:gd name="connsiteX1" fmla="*/ 4045138 w 4045138"/>
              <a:gd name="connsiteY1" fmla="*/ 9331 h 3759696"/>
              <a:gd name="connsiteX2" fmla="*/ 4045138 w 4045138"/>
              <a:gd name="connsiteY2" fmla="*/ 3518190 h 3759696"/>
              <a:gd name="connsiteX3" fmla="*/ 441133 w 4045138"/>
              <a:gd name="connsiteY3" fmla="*/ 3517650 h 3759696"/>
              <a:gd name="connsiteX4" fmla="*/ 343434 w 4045138"/>
              <a:gd name="connsiteY4" fmla="*/ 3716693 h 3759696"/>
              <a:gd name="connsiteX5" fmla="*/ 309336 w 4045138"/>
              <a:gd name="connsiteY5" fmla="*/ 3759557 h 3759696"/>
              <a:gd name="connsiteX6" fmla="*/ 269969 w 4045138"/>
              <a:gd name="connsiteY6" fmla="*/ 3714312 h 3759696"/>
              <a:gd name="connsiteX7" fmla="*/ 168835 w 4045138"/>
              <a:gd name="connsiteY7" fmla="*/ 3516688 h 3759696"/>
              <a:gd name="connsiteX8" fmla="*/ 9285 w 4045138"/>
              <a:gd name="connsiteY8" fmla="*/ 3518190 h 3759696"/>
              <a:gd name="connsiteX9" fmla="*/ 0 w 4045138"/>
              <a:gd name="connsiteY9" fmla="*/ 0 h 375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5138" h="3759696">
                <a:moveTo>
                  <a:pt x="0" y="0"/>
                </a:moveTo>
                <a:lnTo>
                  <a:pt x="4045138" y="9331"/>
                </a:lnTo>
                <a:lnTo>
                  <a:pt x="4045138" y="3518190"/>
                </a:lnTo>
                <a:lnTo>
                  <a:pt x="441133" y="3517650"/>
                </a:lnTo>
                <a:cubicBezTo>
                  <a:pt x="407164" y="3591215"/>
                  <a:pt x="353155" y="3696220"/>
                  <a:pt x="343434" y="3716693"/>
                </a:cubicBezTo>
                <a:cubicBezTo>
                  <a:pt x="333713" y="3737166"/>
                  <a:pt x="331059" y="3757573"/>
                  <a:pt x="309336" y="3759557"/>
                </a:cubicBezTo>
                <a:cubicBezTo>
                  <a:pt x="287613" y="3761541"/>
                  <a:pt x="285091" y="3742090"/>
                  <a:pt x="269969" y="3714312"/>
                </a:cubicBezTo>
                <a:cubicBezTo>
                  <a:pt x="254847" y="3686534"/>
                  <a:pt x="195297" y="3573188"/>
                  <a:pt x="168835" y="3516688"/>
                </a:cubicBezTo>
                <a:lnTo>
                  <a:pt x="9285" y="3518190"/>
                </a:lnTo>
                <a:lnTo>
                  <a:pt x="0" y="0"/>
                </a:lnTo>
                <a:close/>
              </a:path>
            </a:pathLst>
          </a:custGeom>
        </p:spPr>
        <p:txBody>
          <a:bodyPr anchor="ctr" anchorCtr="1"/>
          <a:lstStyle>
            <a:lvl1pPr marL="0" indent="0">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48131551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Full Page Photo">
    <p:spTree>
      <p:nvGrpSpPr>
        <p:cNvPr id="1" name=""/>
        <p:cNvGrpSpPr/>
        <p:nvPr/>
      </p:nvGrpSpPr>
      <p:grpSpPr>
        <a:xfrm>
          <a:off x="0" y="0"/>
          <a:ext cx="0" cy="0"/>
          <a:chOff x="0" y="0"/>
          <a:chExt cx="0" cy="0"/>
        </a:xfrm>
      </p:grpSpPr>
      <p:sp>
        <p:nvSpPr>
          <p:cNvPr id="10" name="Title 1"/>
          <p:cNvSpPr>
            <a:spLocks noGrp="1"/>
          </p:cNvSpPr>
          <p:nvPr>
            <p:ph type="title"/>
          </p:nvPr>
        </p:nvSpPr>
        <p:spPr>
          <a:xfrm>
            <a:off x="609600" y="5768443"/>
            <a:ext cx="10972800" cy="313932"/>
          </a:xfrm>
        </p:spPr>
        <p:txBody>
          <a:bodyPr vert="horz" lIns="0" tIns="0" rIns="0" bIns="0" rtlCol="0" anchor="b" anchorCtr="0">
            <a:noAutofit/>
          </a:bodyPr>
          <a:lstStyle>
            <a:lvl1pPr>
              <a:defRPr lang="en-US" sz="2400" b="1" i="0" kern="1200" cap="none" dirty="0">
                <a:solidFill>
                  <a:schemeClr val="tx2"/>
                </a:solidFill>
                <a:latin typeface="+mj-lt"/>
                <a:ea typeface="+mj-ea"/>
                <a:cs typeface="+mj-cs"/>
              </a:defRPr>
            </a:lvl1pPr>
          </a:lstStyle>
          <a:p>
            <a:pPr lvl="0" algn="l" defTabSz="342874" rtl="0" eaLnBrk="1" latinLnBrk="0" hangingPunct="1">
              <a:lnSpc>
                <a:spcPct val="85000"/>
              </a:lnSpc>
              <a:spcBef>
                <a:spcPct val="0"/>
              </a:spcBef>
              <a:buNone/>
            </a:pPr>
            <a:r>
              <a:rPr lang="en-US"/>
              <a:t>Click to edit Master title style</a:t>
            </a:r>
            <a:endParaRPr lang="en-US" dirty="0"/>
          </a:p>
        </p:txBody>
      </p:sp>
      <p:sp>
        <p:nvSpPr>
          <p:cNvPr id="4" name="Picture Placeholder 3"/>
          <p:cNvSpPr>
            <a:spLocks noGrp="1"/>
          </p:cNvSpPr>
          <p:nvPr>
            <p:ph type="pic" sz="quarter" idx="10" hasCustomPrompt="1"/>
          </p:nvPr>
        </p:nvSpPr>
        <p:spPr>
          <a:xfrm>
            <a:off x="2121" y="6"/>
            <a:ext cx="12189883" cy="5072879"/>
          </a:xfrm>
          <a:solidFill>
            <a:schemeClr val="bg2">
              <a:lumMod val="50000"/>
            </a:schemeClr>
          </a:solidFill>
        </p:spPr>
        <p:txBody>
          <a:bodyPr/>
          <a:lstStyle>
            <a:lvl1pPr marL="0" indent="0" algn="ctr">
              <a:buNone/>
              <a:defRPr>
                <a:solidFill>
                  <a:schemeClr val="bg1"/>
                </a:solidFill>
              </a:defRPr>
            </a:lvl1pPr>
          </a:lstStyle>
          <a:p>
            <a:br>
              <a:rPr lang="en-US" dirty="0"/>
            </a:br>
            <a:br>
              <a:rPr lang="en-US" dirty="0"/>
            </a:br>
            <a:br>
              <a:rPr lang="en-US" dirty="0"/>
            </a:br>
            <a:br>
              <a:rPr lang="en-US" dirty="0"/>
            </a:br>
            <a:br>
              <a:rPr lang="en-US" dirty="0"/>
            </a:br>
            <a:r>
              <a:rPr lang="en-US" dirty="0"/>
              <a:t>Click on icon to insert picture</a:t>
            </a:r>
          </a:p>
        </p:txBody>
      </p:sp>
      <p:sp>
        <p:nvSpPr>
          <p:cNvPr id="6"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7"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Tree>
    <p:extLst>
      <p:ext uri="{BB962C8B-B14F-4D97-AF65-F5344CB8AC3E}">
        <p14:creationId xmlns:p14="http://schemas.microsoft.com/office/powerpoint/2010/main" val="156436128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4" name="TextBox 3"/>
          <p:cNvSpPr txBox="1"/>
          <p:nvPr userDrawn="1"/>
        </p:nvSpPr>
        <p:spPr>
          <a:xfrm>
            <a:off x="796875" y="5455427"/>
            <a:ext cx="4365508" cy="553998"/>
          </a:xfrm>
          <a:prstGeom prst="rect">
            <a:avLst/>
          </a:prstGeom>
          <a:noFill/>
        </p:spPr>
        <p:txBody>
          <a:bodyPr wrap="square" rtlCol="0">
            <a:spAutoFit/>
          </a:bodyPr>
          <a:lstStyle/>
          <a:p>
            <a:r>
              <a:rPr lang="en-US" sz="3000" b="1" dirty="0">
                <a:solidFill>
                  <a:srgbClr val="FFFFFF"/>
                </a:solidFill>
                <a:latin typeface="+mj-lt"/>
              </a:rPr>
              <a:t>THANK</a:t>
            </a:r>
            <a:r>
              <a:rPr lang="en-US" sz="3000" b="1" baseline="0" dirty="0">
                <a:solidFill>
                  <a:srgbClr val="FFFFFF"/>
                </a:solidFill>
                <a:latin typeface="+mj-lt"/>
              </a:rPr>
              <a:t> YOU</a:t>
            </a:r>
            <a:endParaRPr lang="en-US" sz="3000" b="1" dirty="0">
              <a:solidFill>
                <a:srgbClr val="FFFFFF"/>
              </a:solidFill>
              <a:latin typeface="+mj-lt"/>
            </a:endParaRPr>
          </a:p>
        </p:txBody>
      </p:sp>
      <p:sp>
        <p:nvSpPr>
          <p:cNvPr id="5" name="Freeform 5"/>
          <p:cNvSpPr>
            <a:spLocks noEditPoints="1"/>
          </p:cNvSpPr>
          <p:nvPr userDrawn="1"/>
        </p:nvSpPr>
        <p:spPr bwMode="auto">
          <a:xfrm>
            <a:off x="9565381" y="5810281"/>
            <a:ext cx="2013840" cy="659561"/>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 name="Picture Placeholder 2"/>
          <p:cNvSpPr>
            <a:spLocks noGrp="1"/>
          </p:cNvSpPr>
          <p:nvPr>
            <p:ph type="pic" sz="quarter" idx="11"/>
          </p:nvPr>
        </p:nvSpPr>
        <p:spPr>
          <a:xfrm>
            <a:off x="0" y="-2765"/>
            <a:ext cx="12192000" cy="5377641"/>
          </a:xfrm>
          <a:custGeom>
            <a:avLst/>
            <a:gdLst>
              <a:gd name="connsiteX0" fmla="*/ 0 w 9144000"/>
              <a:gd name="connsiteY0" fmla="*/ 0 h 3783806"/>
              <a:gd name="connsiteX1" fmla="*/ 9144000 w 9144000"/>
              <a:gd name="connsiteY1" fmla="*/ 0 h 3783806"/>
              <a:gd name="connsiteX2" fmla="*/ 9144000 w 9144000"/>
              <a:gd name="connsiteY2" fmla="*/ 3783806 h 3783806"/>
              <a:gd name="connsiteX3" fmla="*/ 0 w 9144000"/>
              <a:gd name="connsiteY3" fmla="*/ 3783806 h 3783806"/>
              <a:gd name="connsiteX4" fmla="*/ 0 w 9144000"/>
              <a:gd name="connsiteY4" fmla="*/ 0 h 3783806"/>
              <a:gd name="connsiteX0" fmla="*/ 0 w 9144000"/>
              <a:gd name="connsiteY0" fmla="*/ 0 h 3783806"/>
              <a:gd name="connsiteX1" fmla="*/ 9144000 w 9144000"/>
              <a:gd name="connsiteY1" fmla="*/ 0 h 3783806"/>
              <a:gd name="connsiteX2" fmla="*/ 9144000 w 9144000"/>
              <a:gd name="connsiteY2" fmla="*/ 3783806 h 3783806"/>
              <a:gd name="connsiteX3" fmla="*/ 723900 w 9144000"/>
              <a:gd name="connsiteY3" fmla="*/ 3781425 h 3783806"/>
              <a:gd name="connsiteX4" fmla="*/ 0 w 9144000"/>
              <a:gd name="connsiteY4" fmla="*/ 3783806 h 3783806"/>
              <a:gd name="connsiteX5" fmla="*/ 0 w 9144000"/>
              <a:gd name="connsiteY5" fmla="*/ 0 h 3783806"/>
              <a:gd name="connsiteX0" fmla="*/ 0 w 9144000"/>
              <a:gd name="connsiteY0" fmla="*/ 0 h 3783806"/>
              <a:gd name="connsiteX1" fmla="*/ 9144000 w 9144000"/>
              <a:gd name="connsiteY1" fmla="*/ 0 h 3783806"/>
              <a:gd name="connsiteX2" fmla="*/ 9144000 w 9144000"/>
              <a:gd name="connsiteY2" fmla="*/ 3783806 h 3783806"/>
              <a:gd name="connsiteX3" fmla="*/ 692944 w 9144000"/>
              <a:gd name="connsiteY3" fmla="*/ 3781425 h 3783806"/>
              <a:gd name="connsiteX4" fmla="*/ 0 w 9144000"/>
              <a:gd name="connsiteY4" fmla="*/ 3783806 h 3783806"/>
              <a:gd name="connsiteX5" fmla="*/ 0 w 9144000"/>
              <a:gd name="connsiteY5" fmla="*/ 0 h 3783806"/>
              <a:gd name="connsiteX0" fmla="*/ 0 w 9144000"/>
              <a:gd name="connsiteY0" fmla="*/ 0 h 3783806"/>
              <a:gd name="connsiteX1" fmla="*/ 9144000 w 9144000"/>
              <a:gd name="connsiteY1" fmla="*/ 0 h 3783806"/>
              <a:gd name="connsiteX2" fmla="*/ 9144000 w 9144000"/>
              <a:gd name="connsiteY2" fmla="*/ 3783806 h 3783806"/>
              <a:gd name="connsiteX3" fmla="*/ 954881 w 9144000"/>
              <a:gd name="connsiteY3" fmla="*/ 3779044 h 3783806"/>
              <a:gd name="connsiteX4" fmla="*/ 692944 w 9144000"/>
              <a:gd name="connsiteY4" fmla="*/ 3781425 h 3783806"/>
              <a:gd name="connsiteX5" fmla="*/ 0 w 9144000"/>
              <a:gd name="connsiteY5" fmla="*/ 3783806 h 3783806"/>
              <a:gd name="connsiteX6" fmla="*/ 0 w 9144000"/>
              <a:gd name="connsiteY6" fmla="*/ 0 h 3783806"/>
              <a:gd name="connsiteX0" fmla="*/ 0 w 9144000"/>
              <a:gd name="connsiteY0" fmla="*/ 0 h 3783806"/>
              <a:gd name="connsiteX1" fmla="*/ 9144000 w 9144000"/>
              <a:gd name="connsiteY1" fmla="*/ 0 h 3783806"/>
              <a:gd name="connsiteX2" fmla="*/ 9144000 w 9144000"/>
              <a:gd name="connsiteY2" fmla="*/ 3783806 h 3783806"/>
              <a:gd name="connsiteX3" fmla="*/ 954881 w 9144000"/>
              <a:gd name="connsiteY3" fmla="*/ 3779044 h 3783806"/>
              <a:gd name="connsiteX4" fmla="*/ 821531 w 9144000"/>
              <a:gd name="connsiteY4" fmla="*/ 3779044 h 3783806"/>
              <a:gd name="connsiteX5" fmla="*/ 692944 w 9144000"/>
              <a:gd name="connsiteY5" fmla="*/ 3781425 h 3783806"/>
              <a:gd name="connsiteX6" fmla="*/ 0 w 9144000"/>
              <a:gd name="connsiteY6" fmla="*/ 3783806 h 3783806"/>
              <a:gd name="connsiteX7" fmla="*/ 0 w 9144000"/>
              <a:gd name="connsiteY7" fmla="*/ 0 h 3783806"/>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44"/>
              <a:gd name="connsiteX1" fmla="*/ 9144000 w 9144000"/>
              <a:gd name="connsiteY1" fmla="*/ 0 h 4024344"/>
              <a:gd name="connsiteX2" fmla="*/ 9144000 w 9144000"/>
              <a:gd name="connsiteY2" fmla="*/ 3783806 h 4024344"/>
              <a:gd name="connsiteX3" fmla="*/ 954881 w 9144000"/>
              <a:gd name="connsiteY3" fmla="*/ 3779044 h 4024344"/>
              <a:gd name="connsiteX4" fmla="*/ 826293 w 9144000"/>
              <a:gd name="connsiteY4" fmla="*/ 4024313 h 4024344"/>
              <a:gd name="connsiteX5" fmla="*/ 692944 w 9144000"/>
              <a:gd name="connsiteY5" fmla="*/ 3781425 h 4024344"/>
              <a:gd name="connsiteX6" fmla="*/ 0 w 9144000"/>
              <a:gd name="connsiteY6" fmla="*/ 3783806 h 4024344"/>
              <a:gd name="connsiteX7" fmla="*/ 0 w 9144000"/>
              <a:gd name="connsiteY7" fmla="*/ 0 h 4024344"/>
              <a:gd name="connsiteX0" fmla="*/ 0 w 9144000"/>
              <a:gd name="connsiteY0" fmla="*/ 0 h 4024665"/>
              <a:gd name="connsiteX1" fmla="*/ 9144000 w 9144000"/>
              <a:gd name="connsiteY1" fmla="*/ 0 h 4024665"/>
              <a:gd name="connsiteX2" fmla="*/ 9144000 w 9144000"/>
              <a:gd name="connsiteY2" fmla="*/ 3783806 h 4024665"/>
              <a:gd name="connsiteX3" fmla="*/ 954881 w 9144000"/>
              <a:gd name="connsiteY3" fmla="*/ 3779044 h 4024665"/>
              <a:gd name="connsiteX4" fmla="*/ 826293 w 9144000"/>
              <a:gd name="connsiteY4" fmla="*/ 4024313 h 4024665"/>
              <a:gd name="connsiteX5" fmla="*/ 692944 w 9144000"/>
              <a:gd name="connsiteY5" fmla="*/ 3781425 h 4024665"/>
              <a:gd name="connsiteX6" fmla="*/ 0 w 9144000"/>
              <a:gd name="connsiteY6" fmla="*/ 3783806 h 4024665"/>
              <a:gd name="connsiteX7" fmla="*/ 0 w 9144000"/>
              <a:gd name="connsiteY7" fmla="*/ 0 h 4024665"/>
              <a:gd name="connsiteX0" fmla="*/ 0 w 9144000"/>
              <a:gd name="connsiteY0" fmla="*/ 0 h 4024519"/>
              <a:gd name="connsiteX1" fmla="*/ 9144000 w 9144000"/>
              <a:gd name="connsiteY1" fmla="*/ 0 h 4024519"/>
              <a:gd name="connsiteX2" fmla="*/ 9144000 w 9144000"/>
              <a:gd name="connsiteY2" fmla="*/ 3783806 h 4024519"/>
              <a:gd name="connsiteX3" fmla="*/ 954881 w 9144000"/>
              <a:gd name="connsiteY3" fmla="*/ 3779044 h 4024519"/>
              <a:gd name="connsiteX4" fmla="*/ 826293 w 9144000"/>
              <a:gd name="connsiteY4" fmla="*/ 4024313 h 4024519"/>
              <a:gd name="connsiteX5" fmla="*/ 692944 w 9144000"/>
              <a:gd name="connsiteY5" fmla="*/ 3781425 h 4024519"/>
              <a:gd name="connsiteX6" fmla="*/ 0 w 9144000"/>
              <a:gd name="connsiteY6" fmla="*/ 3783806 h 4024519"/>
              <a:gd name="connsiteX7" fmla="*/ 0 w 9144000"/>
              <a:gd name="connsiteY7" fmla="*/ 0 h 4024519"/>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8131"/>
              <a:gd name="connsiteX1" fmla="*/ 9144000 w 9144000"/>
              <a:gd name="connsiteY1" fmla="*/ 0 h 4028131"/>
              <a:gd name="connsiteX2" fmla="*/ 9144000 w 9144000"/>
              <a:gd name="connsiteY2" fmla="*/ 3783806 h 4028131"/>
              <a:gd name="connsiteX3" fmla="*/ 964406 w 9144000"/>
              <a:gd name="connsiteY3" fmla="*/ 3781426 h 4028131"/>
              <a:gd name="connsiteX4" fmla="*/ 826293 w 9144000"/>
              <a:gd name="connsiteY4" fmla="*/ 4024313 h 4028131"/>
              <a:gd name="connsiteX5" fmla="*/ 692944 w 9144000"/>
              <a:gd name="connsiteY5" fmla="*/ 3781425 h 4028131"/>
              <a:gd name="connsiteX6" fmla="*/ 0 w 9144000"/>
              <a:gd name="connsiteY6" fmla="*/ 3783806 h 4028131"/>
              <a:gd name="connsiteX7" fmla="*/ 0 w 9144000"/>
              <a:gd name="connsiteY7" fmla="*/ 0 h 4028131"/>
              <a:gd name="connsiteX0" fmla="*/ 0 w 9144000"/>
              <a:gd name="connsiteY0" fmla="*/ 0 h 4024412"/>
              <a:gd name="connsiteX1" fmla="*/ 9144000 w 9144000"/>
              <a:gd name="connsiteY1" fmla="*/ 0 h 4024412"/>
              <a:gd name="connsiteX2" fmla="*/ 9144000 w 9144000"/>
              <a:gd name="connsiteY2" fmla="*/ 3783806 h 4024412"/>
              <a:gd name="connsiteX3" fmla="*/ 964406 w 9144000"/>
              <a:gd name="connsiteY3" fmla="*/ 3781426 h 4024412"/>
              <a:gd name="connsiteX4" fmla="*/ 826293 w 9144000"/>
              <a:gd name="connsiteY4" fmla="*/ 4024313 h 4024412"/>
              <a:gd name="connsiteX5" fmla="*/ 692944 w 9144000"/>
              <a:gd name="connsiteY5" fmla="*/ 3781425 h 4024412"/>
              <a:gd name="connsiteX6" fmla="*/ 0 w 9144000"/>
              <a:gd name="connsiteY6" fmla="*/ 3783806 h 4024412"/>
              <a:gd name="connsiteX7" fmla="*/ 0 w 9144000"/>
              <a:gd name="connsiteY7" fmla="*/ 0 h 4024412"/>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66750 w 9144000"/>
              <a:gd name="connsiteY5" fmla="*/ 3781425 h 4024313"/>
              <a:gd name="connsiteX6" fmla="*/ 0 w 9144000"/>
              <a:gd name="connsiteY6" fmla="*/ 3783806 h 4024313"/>
              <a:gd name="connsiteX7" fmla="*/ 0 w 9144000"/>
              <a:gd name="connsiteY7" fmla="*/ 0 h 4024313"/>
              <a:gd name="connsiteX0" fmla="*/ 0 w 9144000"/>
              <a:gd name="connsiteY0" fmla="*/ 0 h 4024316"/>
              <a:gd name="connsiteX1" fmla="*/ 9144000 w 9144000"/>
              <a:gd name="connsiteY1" fmla="*/ 0 h 4024316"/>
              <a:gd name="connsiteX2" fmla="*/ 9144000 w 9144000"/>
              <a:gd name="connsiteY2" fmla="*/ 3783806 h 4024316"/>
              <a:gd name="connsiteX3" fmla="*/ 945356 w 9144000"/>
              <a:gd name="connsiteY3" fmla="*/ 3786189 h 4024316"/>
              <a:gd name="connsiteX4" fmla="*/ 826293 w 9144000"/>
              <a:gd name="connsiteY4" fmla="*/ 4024313 h 4024316"/>
              <a:gd name="connsiteX5" fmla="*/ 666750 w 9144000"/>
              <a:gd name="connsiteY5" fmla="*/ 3781425 h 4024316"/>
              <a:gd name="connsiteX6" fmla="*/ 0 w 9144000"/>
              <a:gd name="connsiteY6" fmla="*/ 3783806 h 4024316"/>
              <a:gd name="connsiteX7" fmla="*/ 0 w 9144000"/>
              <a:gd name="connsiteY7" fmla="*/ 0 h 4024316"/>
              <a:gd name="connsiteX0" fmla="*/ 0 w 9144000"/>
              <a:gd name="connsiteY0" fmla="*/ 0 h 4029078"/>
              <a:gd name="connsiteX1" fmla="*/ 9144000 w 9144000"/>
              <a:gd name="connsiteY1" fmla="*/ 0 h 4029078"/>
              <a:gd name="connsiteX2" fmla="*/ 9144000 w 9144000"/>
              <a:gd name="connsiteY2" fmla="*/ 3783806 h 4029078"/>
              <a:gd name="connsiteX3" fmla="*/ 945356 w 9144000"/>
              <a:gd name="connsiteY3" fmla="*/ 3786189 h 4029078"/>
              <a:gd name="connsiteX4" fmla="*/ 809624 w 9144000"/>
              <a:gd name="connsiteY4" fmla="*/ 4029075 h 4029078"/>
              <a:gd name="connsiteX5" fmla="*/ 666750 w 9144000"/>
              <a:gd name="connsiteY5" fmla="*/ 3781425 h 4029078"/>
              <a:gd name="connsiteX6" fmla="*/ 0 w 9144000"/>
              <a:gd name="connsiteY6" fmla="*/ 3783806 h 4029078"/>
              <a:gd name="connsiteX7" fmla="*/ 0 w 9144000"/>
              <a:gd name="connsiteY7" fmla="*/ 0 h 4029078"/>
              <a:gd name="connsiteX0" fmla="*/ 0 w 9144000"/>
              <a:gd name="connsiteY0" fmla="*/ 0 h 4029106"/>
              <a:gd name="connsiteX1" fmla="*/ 9144000 w 9144000"/>
              <a:gd name="connsiteY1" fmla="*/ 0 h 4029106"/>
              <a:gd name="connsiteX2" fmla="*/ 9144000 w 9144000"/>
              <a:gd name="connsiteY2" fmla="*/ 3783806 h 4029106"/>
              <a:gd name="connsiteX3" fmla="*/ 945356 w 9144000"/>
              <a:gd name="connsiteY3" fmla="*/ 3786189 h 4029106"/>
              <a:gd name="connsiteX4" fmla="*/ 809624 w 9144000"/>
              <a:gd name="connsiteY4" fmla="*/ 4029075 h 4029106"/>
              <a:gd name="connsiteX5" fmla="*/ 666750 w 9144000"/>
              <a:gd name="connsiteY5" fmla="*/ 3781425 h 4029106"/>
              <a:gd name="connsiteX6" fmla="*/ 0 w 9144000"/>
              <a:gd name="connsiteY6" fmla="*/ 3783806 h 4029106"/>
              <a:gd name="connsiteX7" fmla="*/ 0 w 9144000"/>
              <a:gd name="connsiteY7" fmla="*/ 0 h 4029106"/>
              <a:gd name="connsiteX0" fmla="*/ 0 w 9144000"/>
              <a:gd name="connsiteY0" fmla="*/ 0 h 4029106"/>
              <a:gd name="connsiteX1" fmla="*/ 9144000 w 9144000"/>
              <a:gd name="connsiteY1" fmla="*/ 0 h 4029106"/>
              <a:gd name="connsiteX2" fmla="*/ 9144000 w 9144000"/>
              <a:gd name="connsiteY2" fmla="*/ 3783806 h 4029106"/>
              <a:gd name="connsiteX3" fmla="*/ 945356 w 9144000"/>
              <a:gd name="connsiteY3" fmla="*/ 3786189 h 4029106"/>
              <a:gd name="connsiteX4" fmla="*/ 809624 w 9144000"/>
              <a:gd name="connsiteY4" fmla="*/ 4029075 h 4029106"/>
              <a:gd name="connsiteX5" fmla="*/ 666750 w 9144000"/>
              <a:gd name="connsiteY5" fmla="*/ 3781425 h 4029106"/>
              <a:gd name="connsiteX6" fmla="*/ 0 w 9144000"/>
              <a:gd name="connsiteY6" fmla="*/ 3783806 h 4029106"/>
              <a:gd name="connsiteX7" fmla="*/ 0 w 9144000"/>
              <a:gd name="connsiteY7" fmla="*/ 0 h 4029106"/>
              <a:gd name="connsiteX0" fmla="*/ 0 w 9144000"/>
              <a:gd name="connsiteY0" fmla="*/ 0 h 4039816"/>
              <a:gd name="connsiteX1" fmla="*/ 9144000 w 9144000"/>
              <a:gd name="connsiteY1" fmla="*/ 0 h 4039816"/>
              <a:gd name="connsiteX2" fmla="*/ 9144000 w 9144000"/>
              <a:gd name="connsiteY2" fmla="*/ 3783806 h 4039816"/>
              <a:gd name="connsiteX3" fmla="*/ 945356 w 9144000"/>
              <a:gd name="connsiteY3" fmla="*/ 3786189 h 4039816"/>
              <a:gd name="connsiteX4" fmla="*/ 854869 w 9144000"/>
              <a:gd name="connsiteY4" fmla="*/ 3974305 h 4039816"/>
              <a:gd name="connsiteX5" fmla="*/ 809624 w 9144000"/>
              <a:gd name="connsiteY5" fmla="*/ 4029075 h 4039816"/>
              <a:gd name="connsiteX6" fmla="*/ 666750 w 9144000"/>
              <a:gd name="connsiteY6" fmla="*/ 3781425 h 4039816"/>
              <a:gd name="connsiteX7" fmla="*/ 0 w 9144000"/>
              <a:gd name="connsiteY7" fmla="*/ 3783806 h 4039816"/>
              <a:gd name="connsiteX8" fmla="*/ 0 w 9144000"/>
              <a:gd name="connsiteY8" fmla="*/ 0 h 4039816"/>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4869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4869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0106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0106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0106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0106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88634"/>
              <a:gd name="connsiteX1" fmla="*/ 9144000 w 9144000"/>
              <a:gd name="connsiteY1" fmla="*/ 0 h 4088634"/>
              <a:gd name="connsiteX2" fmla="*/ 9144000 w 9144000"/>
              <a:gd name="connsiteY2" fmla="*/ 3783806 h 4088634"/>
              <a:gd name="connsiteX3" fmla="*/ 945356 w 9144000"/>
              <a:gd name="connsiteY3" fmla="*/ 3786189 h 4088634"/>
              <a:gd name="connsiteX4" fmla="*/ 850106 w 9144000"/>
              <a:gd name="connsiteY4" fmla="*/ 3974305 h 4088634"/>
              <a:gd name="connsiteX5" fmla="*/ 809624 w 9144000"/>
              <a:gd name="connsiteY5" fmla="*/ 4088606 h 4088634"/>
              <a:gd name="connsiteX6" fmla="*/ 766763 w 9144000"/>
              <a:gd name="connsiteY6" fmla="*/ 3983830 h 4088634"/>
              <a:gd name="connsiteX7" fmla="*/ 666750 w 9144000"/>
              <a:gd name="connsiteY7" fmla="*/ 3781425 h 4088634"/>
              <a:gd name="connsiteX8" fmla="*/ 0 w 9144000"/>
              <a:gd name="connsiteY8" fmla="*/ 3783806 h 4088634"/>
              <a:gd name="connsiteX9" fmla="*/ 0 w 9144000"/>
              <a:gd name="connsiteY9" fmla="*/ 0 h 4088634"/>
              <a:gd name="connsiteX0" fmla="*/ 0 w 9144000"/>
              <a:gd name="connsiteY0" fmla="*/ 0 h 4098155"/>
              <a:gd name="connsiteX1" fmla="*/ 9144000 w 9144000"/>
              <a:gd name="connsiteY1" fmla="*/ 0 h 4098155"/>
              <a:gd name="connsiteX2" fmla="*/ 9144000 w 9144000"/>
              <a:gd name="connsiteY2" fmla="*/ 3783806 h 4098155"/>
              <a:gd name="connsiteX3" fmla="*/ 945356 w 9144000"/>
              <a:gd name="connsiteY3" fmla="*/ 3786189 h 4098155"/>
              <a:gd name="connsiteX4" fmla="*/ 850106 w 9144000"/>
              <a:gd name="connsiteY4" fmla="*/ 3974305 h 4098155"/>
              <a:gd name="connsiteX5" fmla="*/ 814386 w 9144000"/>
              <a:gd name="connsiteY5" fmla="*/ 4098131 h 4098155"/>
              <a:gd name="connsiteX6" fmla="*/ 766763 w 9144000"/>
              <a:gd name="connsiteY6" fmla="*/ 3983830 h 4098155"/>
              <a:gd name="connsiteX7" fmla="*/ 666750 w 9144000"/>
              <a:gd name="connsiteY7" fmla="*/ 3781425 h 4098155"/>
              <a:gd name="connsiteX8" fmla="*/ 0 w 9144000"/>
              <a:gd name="connsiteY8" fmla="*/ 3783806 h 4098155"/>
              <a:gd name="connsiteX9" fmla="*/ 0 w 9144000"/>
              <a:gd name="connsiteY9" fmla="*/ 0 h 4098155"/>
              <a:gd name="connsiteX0" fmla="*/ 0 w 9144000"/>
              <a:gd name="connsiteY0" fmla="*/ 0 h 4098155"/>
              <a:gd name="connsiteX1" fmla="*/ 9144000 w 9144000"/>
              <a:gd name="connsiteY1" fmla="*/ 0 h 4098155"/>
              <a:gd name="connsiteX2" fmla="*/ 9144000 w 9144000"/>
              <a:gd name="connsiteY2" fmla="*/ 3783806 h 4098155"/>
              <a:gd name="connsiteX3" fmla="*/ 945356 w 9144000"/>
              <a:gd name="connsiteY3" fmla="*/ 3786189 h 4098155"/>
              <a:gd name="connsiteX4" fmla="*/ 850106 w 9144000"/>
              <a:gd name="connsiteY4" fmla="*/ 3974305 h 4098155"/>
              <a:gd name="connsiteX5" fmla="*/ 802480 w 9144000"/>
              <a:gd name="connsiteY5" fmla="*/ 4098131 h 4098155"/>
              <a:gd name="connsiteX6" fmla="*/ 766763 w 9144000"/>
              <a:gd name="connsiteY6" fmla="*/ 3983830 h 4098155"/>
              <a:gd name="connsiteX7" fmla="*/ 666750 w 9144000"/>
              <a:gd name="connsiteY7" fmla="*/ 3781425 h 4098155"/>
              <a:gd name="connsiteX8" fmla="*/ 0 w 9144000"/>
              <a:gd name="connsiteY8" fmla="*/ 3783806 h 4098155"/>
              <a:gd name="connsiteX9" fmla="*/ 0 w 9144000"/>
              <a:gd name="connsiteY9" fmla="*/ 0 h 4098155"/>
              <a:gd name="connsiteX0" fmla="*/ 0 w 9144000"/>
              <a:gd name="connsiteY0" fmla="*/ 0 h 4099570"/>
              <a:gd name="connsiteX1" fmla="*/ 9144000 w 9144000"/>
              <a:gd name="connsiteY1" fmla="*/ 0 h 4099570"/>
              <a:gd name="connsiteX2" fmla="*/ 9144000 w 9144000"/>
              <a:gd name="connsiteY2" fmla="*/ 3783806 h 4099570"/>
              <a:gd name="connsiteX3" fmla="*/ 945356 w 9144000"/>
              <a:gd name="connsiteY3" fmla="*/ 3786189 h 4099570"/>
              <a:gd name="connsiteX4" fmla="*/ 850106 w 9144000"/>
              <a:gd name="connsiteY4" fmla="*/ 3974305 h 4099570"/>
              <a:gd name="connsiteX5" fmla="*/ 802480 w 9144000"/>
              <a:gd name="connsiteY5" fmla="*/ 4098131 h 4099570"/>
              <a:gd name="connsiteX6" fmla="*/ 766763 w 9144000"/>
              <a:gd name="connsiteY6" fmla="*/ 3983830 h 4099570"/>
              <a:gd name="connsiteX7" fmla="*/ 666750 w 9144000"/>
              <a:gd name="connsiteY7" fmla="*/ 3781425 h 4099570"/>
              <a:gd name="connsiteX8" fmla="*/ 0 w 9144000"/>
              <a:gd name="connsiteY8" fmla="*/ 3783806 h 4099570"/>
              <a:gd name="connsiteX9" fmla="*/ 0 w 9144000"/>
              <a:gd name="connsiteY9" fmla="*/ 0 h 4099570"/>
              <a:gd name="connsiteX0" fmla="*/ 0 w 9144000"/>
              <a:gd name="connsiteY0" fmla="*/ 0 h 4098135"/>
              <a:gd name="connsiteX1" fmla="*/ 9144000 w 9144000"/>
              <a:gd name="connsiteY1" fmla="*/ 0 h 4098135"/>
              <a:gd name="connsiteX2" fmla="*/ 9144000 w 9144000"/>
              <a:gd name="connsiteY2" fmla="*/ 3783806 h 4098135"/>
              <a:gd name="connsiteX3" fmla="*/ 945356 w 9144000"/>
              <a:gd name="connsiteY3" fmla="*/ 3786189 h 4098135"/>
              <a:gd name="connsiteX4" fmla="*/ 850106 w 9144000"/>
              <a:gd name="connsiteY4" fmla="*/ 3974305 h 4098135"/>
              <a:gd name="connsiteX5" fmla="*/ 802480 w 9144000"/>
              <a:gd name="connsiteY5" fmla="*/ 4098131 h 4098135"/>
              <a:gd name="connsiteX6" fmla="*/ 766763 w 9144000"/>
              <a:gd name="connsiteY6" fmla="*/ 3983830 h 4098135"/>
              <a:gd name="connsiteX7" fmla="*/ 666750 w 9144000"/>
              <a:gd name="connsiteY7" fmla="*/ 3781425 h 4098135"/>
              <a:gd name="connsiteX8" fmla="*/ 0 w 9144000"/>
              <a:gd name="connsiteY8" fmla="*/ 3783806 h 4098135"/>
              <a:gd name="connsiteX9" fmla="*/ 0 w 9144000"/>
              <a:gd name="connsiteY9" fmla="*/ 0 h 4098135"/>
              <a:gd name="connsiteX0" fmla="*/ 0 w 9144000"/>
              <a:gd name="connsiteY0" fmla="*/ 0 h 4100517"/>
              <a:gd name="connsiteX1" fmla="*/ 9144000 w 9144000"/>
              <a:gd name="connsiteY1" fmla="*/ 0 h 4100517"/>
              <a:gd name="connsiteX2" fmla="*/ 9144000 w 9144000"/>
              <a:gd name="connsiteY2" fmla="*/ 3783806 h 4100517"/>
              <a:gd name="connsiteX3" fmla="*/ 945356 w 9144000"/>
              <a:gd name="connsiteY3" fmla="*/ 3786189 h 4100517"/>
              <a:gd name="connsiteX4" fmla="*/ 850106 w 9144000"/>
              <a:gd name="connsiteY4" fmla="*/ 3974305 h 4100517"/>
              <a:gd name="connsiteX5" fmla="*/ 816767 w 9144000"/>
              <a:gd name="connsiteY5" fmla="*/ 4100513 h 4100517"/>
              <a:gd name="connsiteX6" fmla="*/ 766763 w 9144000"/>
              <a:gd name="connsiteY6" fmla="*/ 3983830 h 4100517"/>
              <a:gd name="connsiteX7" fmla="*/ 666750 w 9144000"/>
              <a:gd name="connsiteY7" fmla="*/ 3781425 h 4100517"/>
              <a:gd name="connsiteX8" fmla="*/ 0 w 9144000"/>
              <a:gd name="connsiteY8" fmla="*/ 3783806 h 4100517"/>
              <a:gd name="connsiteX9" fmla="*/ 0 w 9144000"/>
              <a:gd name="connsiteY9" fmla="*/ 0 h 4100517"/>
              <a:gd name="connsiteX0" fmla="*/ 0 w 9144000"/>
              <a:gd name="connsiteY0" fmla="*/ 0 h 4021977"/>
              <a:gd name="connsiteX1" fmla="*/ 9144000 w 9144000"/>
              <a:gd name="connsiteY1" fmla="*/ 0 h 4021977"/>
              <a:gd name="connsiteX2" fmla="*/ 9144000 w 9144000"/>
              <a:gd name="connsiteY2" fmla="*/ 3783806 h 4021977"/>
              <a:gd name="connsiteX3" fmla="*/ 945356 w 9144000"/>
              <a:gd name="connsiteY3" fmla="*/ 3786189 h 4021977"/>
              <a:gd name="connsiteX4" fmla="*/ 850106 w 9144000"/>
              <a:gd name="connsiteY4" fmla="*/ 3974305 h 4021977"/>
              <a:gd name="connsiteX5" fmla="*/ 807242 w 9144000"/>
              <a:gd name="connsiteY5" fmla="*/ 4021931 h 4021977"/>
              <a:gd name="connsiteX6" fmla="*/ 766763 w 9144000"/>
              <a:gd name="connsiteY6" fmla="*/ 3983830 h 4021977"/>
              <a:gd name="connsiteX7" fmla="*/ 666750 w 9144000"/>
              <a:gd name="connsiteY7" fmla="*/ 3781425 h 4021977"/>
              <a:gd name="connsiteX8" fmla="*/ 0 w 9144000"/>
              <a:gd name="connsiteY8" fmla="*/ 3783806 h 4021977"/>
              <a:gd name="connsiteX9" fmla="*/ 0 w 9144000"/>
              <a:gd name="connsiteY9" fmla="*/ 0 h 4021977"/>
              <a:gd name="connsiteX0" fmla="*/ 0 w 9144000"/>
              <a:gd name="connsiteY0" fmla="*/ 0 h 4022430"/>
              <a:gd name="connsiteX1" fmla="*/ 9144000 w 9144000"/>
              <a:gd name="connsiteY1" fmla="*/ 0 h 4022430"/>
              <a:gd name="connsiteX2" fmla="*/ 9144000 w 9144000"/>
              <a:gd name="connsiteY2" fmla="*/ 3783806 h 4022430"/>
              <a:gd name="connsiteX3" fmla="*/ 945356 w 9144000"/>
              <a:gd name="connsiteY3" fmla="*/ 3786189 h 4022430"/>
              <a:gd name="connsiteX4" fmla="*/ 850106 w 9144000"/>
              <a:gd name="connsiteY4" fmla="*/ 3974305 h 4022430"/>
              <a:gd name="connsiteX5" fmla="*/ 807242 w 9144000"/>
              <a:gd name="connsiteY5" fmla="*/ 4021931 h 4022430"/>
              <a:gd name="connsiteX6" fmla="*/ 766763 w 9144000"/>
              <a:gd name="connsiteY6" fmla="*/ 3983830 h 4022430"/>
              <a:gd name="connsiteX7" fmla="*/ 666750 w 9144000"/>
              <a:gd name="connsiteY7" fmla="*/ 3781425 h 4022430"/>
              <a:gd name="connsiteX8" fmla="*/ 0 w 9144000"/>
              <a:gd name="connsiteY8" fmla="*/ 3783806 h 4022430"/>
              <a:gd name="connsiteX9" fmla="*/ 0 w 9144000"/>
              <a:gd name="connsiteY9" fmla="*/ 0 h 4022430"/>
              <a:gd name="connsiteX0" fmla="*/ 0 w 9144000"/>
              <a:gd name="connsiteY0" fmla="*/ 0 h 4022430"/>
              <a:gd name="connsiteX1" fmla="*/ 9144000 w 9144000"/>
              <a:gd name="connsiteY1" fmla="*/ 0 h 4022430"/>
              <a:gd name="connsiteX2" fmla="*/ 9144000 w 9144000"/>
              <a:gd name="connsiteY2" fmla="*/ 3783806 h 4022430"/>
              <a:gd name="connsiteX3" fmla="*/ 945356 w 9144000"/>
              <a:gd name="connsiteY3" fmla="*/ 3786189 h 4022430"/>
              <a:gd name="connsiteX4" fmla="*/ 850106 w 9144000"/>
              <a:gd name="connsiteY4" fmla="*/ 3974305 h 4022430"/>
              <a:gd name="connsiteX5" fmla="*/ 807242 w 9144000"/>
              <a:gd name="connsiteY5" fmla="*/ 4021931 h 4022430"/>
              <a:gd name="connsiteX6" fmla="*/ 766763 w 9144000"/>
              <a:gd name="connsiteY6" fmla="*/ 3983830 h 4022430"/>
              <a:gd name="connsiteX7" fmla="*/ 666750 w 9144000"/>
              <a:gd name="connsiteY7" fmla="*/ 3781425 h 4022430"/>
              <a:gd name="connsiteX8" fmla="*/ 0 w 9144000"/>
              <a:gd name="connsiteY8" fmla="*/ 3783806 h 4022430"/>
              <a:gd name="connsiteX9" fmla="*/ 0 w 9144000"/>
              <a:gd name="connsiteY9" fmla="*/ 0 h 4022430"/>
              <a:gd name="connsiteX0" fmla="*/ 0 w 9144000"/>
              <a:gd name="connsiteY0" fmla="*/ 0 h 4024744"/>
              <a:gd name="connsiteX1" fmla="*/ 9144000 w 9144000"/>
              <a:gd name="connsiteY1" fmla="*/ 0 h 4024744"/>
              <a:gd name="connsiteX2" fmla="*/ 9144000 w 9144000"/>
              <a:gd name="connsiteY2" fmla="*/ 3783806 h 4024744"/>
              <a:gd name="connsiteX3" fmla="*/ 945356 w 9144000"/>
              <a:gd name="connsiteY3" fmla="*/ 3786189 h 4024744"/>
              <a:gd name="connsiteX4" fmla="*/ 850106 w 9144000"/>
              <a:gd name="connsiteY4" fmla="*/ 3974305 h 4024744"/>
              <a:gd name="connsiteX5" fmla="*/ 804860 w 9144000"/>
              <a:gd name="connsiteY5" fmla="*/ 4024313 h 4024744"/>
              <a:gd name="connsiteX6" fmla="*/ 766763 w 9144000"/>
              <a:gd name="connsiteY6" fmla="*/ 3983830 h 4024744"/>
              <a:gd name="connsiteX7" fmla="*/ 666750 w 9144000"/>
              <a:gd name="connsiteY7" fmla="*/ 3781425 h 4024744"/>
              <a:gd name="connsiteX8" fmla="*/ 0 w 9144000"/>
              <a:gd name="connsiteY8" fmla="*/ 3783806 h 4024744"/>
              <a:gd name="connsiteX9" fmla="*/ 0 w 9144000"/>
              <a:gd name="connsiteY9" fmla="*/ 0 h 4024744"/>
              <a:gd name="connsiteX0" fmla="*/ 0 w 9144000"/>
              <a:gd name="connsiteY0" fmla="*/ 0 h 4024342"/>
              <a:gd name="connsiteX1" fmla="*/ 9144000 w 9144000"/>
              <a:gd name="connsiteY1" fmla="*/ 0 h 4024342"/>
              <a:gd name="connsiteX2" fmla="*/ 9144000 w 9144000"/>
              <a:gd name="connsiteY2" fmla="*/ 3783806 h 4024342"/>
              <a:gd name="connsiteX3" fmla="*/ 945356 w 9144000"/>
              <a:gd name="connsiteY3" fmla="*/ 3786189 h 4024342"/>
              <a:gd name="connsiteX4" fmla="*/ 850106 w 9144000"/>
              <a:gd name="connsiteY4" fmla="*/ 3974305 h 4024342"/>
              <a:gd name="connsiteX5" fmla="*/ 804860 w 9144000"/>
              <a:gd name="connsiteY5" fmla="*/ 4024313 h 4024342"/>
              <a:gd name="connsiteX6" fmla="*/ 766763 w 9144000"/>
              <a:gd name="connsiteY6" fmla="*/ 3983830 h 4024342"/>
              <a:gd name="connsiteX7" fmla="*/ 666750 w 9144000"/>
              <a:gd name="connsiteY7" fmla="*/ 3781425 h 4024342"/>
              <a:gd name="connsiteX8" fmla="*/ 0 w 9144000"/>
              <a:gd name="connsiteY8" fmla="*/ 3783806 h 4024342"/>
              <a:gd name="connsiteX9" fmla="*/ 0 w 9144000"/>
              <a:gd name="connsiteY9" fmla="*/ 0 h 4024342"/>
              <a:gd name="connsiteX0" fmla="*/ 0 w 9144000"/>
              <a:gd name="connsiteY0" fmla="*/ 0 h 4024342"/>
              <a:gd name="connsiteX1" fmla="*/ 9144000 w 9144000"/>
              <a:gd name="connsiteY1" fmla="*/ 0 h 4024342"/>
              <a:gd name="connsiteX2" fmla="*/ 9144000 w 9144000"/>
              <a:gd name="connsiteY2" fmla="*/ 3783806 h 4024342"/>
              <a:gd name="connsiteX3" fmla="*/ 945356 w 9144000"/>
              <a:gd name="connsiteY3" fmla="*/ 3786189 h 4024342"/>
              <a:gd name="connsiteX4" fmla="*/ 850106 w 9144000"/>
              <a:gd name="connsiteY4" fmla="*/ 3974305 h 4024342"/>
              <a:gd name="connsiteX5" fmla="*/ 804860 w 9144000"/>
              <a:gd name="connsiteY5" fmla="*/ 4024313 h 4024342"/>
              <a:gd name="connsiteX6" fmla="*/ 766763 w 9144000"/>
              <a:gd name="connsiteY6" fmla="*/ 3983830 h 4024342"/>
              <a:gd name="connsiteX7" fmla="*/ 666750 w 9144000"/>
              <a:gd name="connsiteY7" fmla="*/ 3781425 h 4024342"/>
              <a:gd name="connsiteX8" fmla="*/ 0 w 9144000"/>
              <a:gd name="connsiteY8" fmla="*/ 3783806 h 4024342"/>
              <a:gd name="connsiteX9" fmla="*/ 0 w 9144000"/>
              <a:gd name="connsiteY9" fmla="*/ 0 h 4024342"/>
              <a:gd name="connsiteX0" fmla="*/ 0 w 9144000"/>
              <a:gd name="connsiteY0" fmla="*/ 0 h 4024784"/>
              <a:gd name="connsiteX1" fmla="*/ 9144000 w 9144000"/>
              <a:gd name="connsiteY1" fmla="*/ 0 h 4024784"/>
              <a:gd name="connsiteX2" fmla="*/ 9144000 w 9144000"/>
              <a:gd name="connsiteY2" fmla="*/ 3783806 h 4024784"/>
              <a:gd name="connsiteX3" fmla="*/ 945356 w 9144000"/>
              <a:gd name="connsiteY3" fmla="*/ 3786189 h 4024784"/>
              <a:gd name="connsiteX4" fmla="*/ 850106 w 9144000"/>
              <a:gd name="connsiteY4" fmla="*/ 3974305 h 4024784"/>
              <a:gd name="connsiteX5" fmla="*/ 804860 w 9144000"/>
              <a:gd name="connsiteY5" fmla="*/ 4024313 h 4024784"/>
              <a:gd name="connsiteX6" fmla="*/ 766763 w 9144000"/>
              <a:gd name="connsiteY6" fmla="*/ 3983830 h 4024784"/>
              <a:gd name="connsiteX7" fmla="*/ 666750 w 9144000"/>
              <a:gd name="connsiteY7" fmla="*/ 3781425 h 4024784"/>
              <a:gd name="connsiteX8" fmla="*/ 0 w 9144000"/>
              <a:gd name="connsiteY8" fmla="*/ 3783806 h 4024784"/>
              <a:gd name="connsiteX9" fmla="*/ 0 w 9144000"/>
              <a:gd name="connsiteY9" fmla="*/ 0 h 4024784"/>
              <a:gd name="connsiteX0" fmla="*/ 0 w 9144000"/>
              <a:gd name="connsiteY0" fmla="*/ 0 h 4024784"/>
              <a:gd name="connsiteX1" fmla="*/ 9144000 w 9144000"/>
              <a:gd name="connsiteY1" fmla="*/ 0 h 4024784"/>
              <a:gd name="connsiteX2" fmla="*/ 9144000 w 9144000"/>
              <a:gd name="connsiteY2" fmla="*/ 3783806 h 4024784"/>
              <a:gd name="connsiteX3" fmla="*/ 942975 w 9144000"/>
              <a:gd name="connsiteY3" fmla="*/ 3788570 h 4024784"/>
              <a:gd name="connsiteX4" fmla="*/ 850106 w 9144000"/>
              <a:gd name="connsiteY4" fmla="*/ 3974305 h 4024784"/>
              <a:gd name="connsiteX5" fmla="*/ 804860 w 9144000"/>
              <a:gd name="connsiteY5" fmla="*/ 4024313 h 4024784"/>
              <a:gd name="connsiteX6" fmla="*/ 766763 w 9144000"/>
              <a:gd name="connsiteY6" fmla="*/ 3983830 h 4024784"/>
              <a:gd name="connsiteX7" fmla="*/ 666750 w 9144000"/>
              <a:gd name="connsiteY7" fmla="*/ 3781425 h 4024784"/>
              <a:gd name="connsiteX8" fmla="*/ 0 w 9144000"/>
              <a:gd name="connsiteY8" fmla="*/ 3783806 h 4024784"/>
              <a:gd name="connsiteX9" fmla="*/ 0 w 9144000"/>
              <a:gd name="connsiteY9" fmla="*/ 0 h 4024784"/>
              <a:gd name="connsiteX0" fmla="*/ 0 w 9144000"/>
              <a:gd name="connsiteY0" fmla="*/ 0 h 4024870"/>
              <a:gd name="connsiteX1" fmla="*/ 9144000 w 9144000"/>
              <a:gd name="connsiteY1" fmla="*/ 0 h 4024870"/>
              <a:gd name="connsiteX2" fmla="*/ 9144000 w 9144000"/>
              <a:gd name="connsiteY2" fmla="*/ 3783806 h 4024870"/>
              <a:gd name="connsiteX3" fmla="*/ 942975 w 9144000"/>
              <a:gd name="connsiteY3" fmla="*/ 3788570 h 4024870"/>
              <a:gd name="connsiteX4" fmla="*/ 850106 w 9144000"/>
              <a:gd name="connsiteY4" fmla="*/ 3971924 h 4024870"/>
              <a:gd name="connsiteX5" fmla="*/ 804860 w 9144000"/>
              <a:gd name="connsiteY5" fmla="*/ 4024313 h 4024870"/>
              <a:gd name="connsiteX6" fmla="*/ 766763 w 9144000"/>
              <a:gd name="connsiteY6" fmla="*/ 3983830 h 4024870"/>
              <a:gd name="connsiteX7" fmla="*/ 666750 w 9144000"/>
              <a:gd name="connsiteY7" fmla="*/ 3781425 h 4024870"/>
              <a:gd name="connsiteX8" fmla="*/ 0 w 9144000"/>
              <a:gd name="connsiteY8" fmla="*/ 3783806 h 4024870"/>
              <a:gd name="connsiteX9" fmla="*/ 0 w 9144000"/>
              <a:gd name="connsiteY9" fmla="*/ 0 h 4024870"/>
              <a:gd name="connsiteX0" fmla="*/ 0 w 9144000"/>
              <a:gd name="connsiteY0" fmla="*/ 0 h 4024870"/>
              <a:gd name="connsiteX1" fmla="*/ 9144000 w 9144000"/>
              <a:gd name="connsiteY1" fmla="*/ 0 h 4024870"/>
              <a:gd name="connsiteX2" fmla="*/ 9144000 w 9144000"/>
              <a:gd name="connsiteY2" fmla="*/ 3783806 h 4024870"/>
              <a:gd name="connsiteX3" fmla="*/ 940594 w 9144000"/>
              <a:gd name="connsiteY3" fmla="*/ 3786188 h 4024870"/>
              <a:gd name="connsiteX4" fmla="*/ 850106 w 9144000"/>
              <a:gd name="connsiteY4" fmla="*/ 3971924 h 4024870"/>
              <a:gd name="connsiteX5" fmla="*/ 804860 w 9144000"/>
              <a:gd name="connsiteY5" fmla="*/ 4024313 h 4024870"/>
              <a:gd name="connsiteX6" fmla="*/ 766763 w 9144000"/>
              <a:gd name="connsiteY6" fmla="*/ 3983830 h 4024870"/>
              <a:gd name="connsiteX7" fmla="*/ 666750 w 9144000"/>
              <a:gd name="connsiteY7" fmla="*/ 3781425 h 4024870"/>
              <a:gd name="connsiteX8" fmla="*/ 0 w 9144000"/>
              <a:gd name="connsiteY8" fmla="*/ 3783806 h 4024870"/>
              <a:gd name="connsiteX9" fmla="*/ 0 w 9144000"/>
              <a:gd name="connsiteY9" fmla="*/ 0 h 4024870"/>
              <a:gd name="connsiteX0" fmla="*/ 0 w 9144000"/>
              <a:gd name="connsiteY0" fmla="*/ 0 h 4024870"/>
              <a:gd name="connsiteX1" fmla="*/ 9144000 w 9144000"/>
              <a:gd name="connsiteY1" fmla="*/ 0 h 4024870"/>
              <a:gd name="connsiteX2" fmla="*/ 9144000 w 9144000"/>
              <a:gd name="connsiteY2" fmla="*/ 3783806 h 4024870"/>
              <a:gd name="connsiteX3" fmla="*/ 940594 w 9144000"/>
              <a:gd name="connsiteY3" fmla="*/ 3786188 h 4024870"/>
              <a:gd name="connsiteX4" fmla="*/ 850106 w 9144000"/>
              <a:gd name="connsiteY4" fmla="*/ 3971924 h 4024870"/>
              <a:gd name="connsiteX5" fmla="*/ 804860 w 9144000"/>
              <a:gd name="connsiteY5" fmla="*/ 4024313 h 4024870"/>
              <a:gd name="connsiteX6" fmla="*/ 766763 w 9144000"/>
              <a:gd name="connsiteY6" fmla="*/ 3983830 h 4024870"/>
              <a:gd name="connsiteX7" fmla="*/ 669131 w 9144000"/>
              <a:gd name="connsiteY7" fmla="*/ 3786188 h 4024870"/>
              <a:gd name="connsiteX8" fmla="*/ 0 w 9144000"/>
              <a:gd name="connsiteY8" fmla="*/ 3783806 h 4024870"/>
              <a:gd name="connsiteX9" fmla="*/ 0 w 9144000"/>
              <a:gd name="connsiteY9" fmla="*/ 0 h 4024870"/>
              <a:gd name="connsiteX0" fmla="*/ 0 w 9144000"/>
              <a:gd name="connsiteY0" fmla="*/ 0 h 4024870"/>
              <a:gd name="connsiteX1" fmla="*/ 9144000 w 9144000"/>
              <a:gd name="connsiteY1" fmla="*/ 0 h 4024870"/>
              <a:gd name="connsiteX2" fmla="*/ 9144000 w 9144000"/>
              <a:gd name="connsiteY2" fmla="*/ 3790950 h 4024870"/>
              <a:gd name="connsiteX3" fmla="*/ 940594 w 9144000"/>
              <a:gd name="connsiteY3" fmla="*/ 3786188 h 4024870"/>
              <a:gd name="connsiteX4" fmla="*/ 850106 w 9144000"/>
              <a:gd name="connsiteY4" fmla="*/ 3971924 h 4024870"/>
              <a:gd name="connsiteX5" fmla="*/ 804860 w 9144000"/>
              <a:gd name="connsiteY5" fmla="*/ 4024313 h 4024870"/>
              <a:gd name="connsiteX6" fmla="*/ 766763 w 9144000"/>
              <a:gd name="connsiteY6" fmla="*/ 3983830 h 4024870"/>
              <a:gd name="connsiteX7" fmla="*/ 669131 w 9144000"/>
              <a:gd name="connsiteY7" fmla="*/ 3786188 h 4024870"/>
              <a:gd name="connsiteX8" fmla="*/ 0 w 9144000"/>
              <a:gd name="connsiteY8" fmla="*/ 3783806 h 4024870"/>
              <a:gd name="connsiteX9" fmla="*/ 0 w 9144000"/>
              <a:gd name="connsiteY9" fmla="*/ 0 h 4024870"/>
              <a:gd name="connsiteX0" fmla="*/ 0 w 9144000"/>
              <a:gd name="connsiteY0" fmla="*/ 0 h 4079133"/>
              <a:gd name="connsiteX1" fmla="*/ 9144000 w 9144000"/>
              <a:gd name="connsiteY1" fmla="*/ 0 h 4079133"/>
              <a:gd name="connsiteX2" fmla="*/ 9144000 w 9144000"/>
              <a:gd name="connsiteY2" fmla="*/ 3790950 h 4079133"/>
              <a:gd name="connsiteX3" fmla="*/ 940594 w 9144000"/>
              <a:gd name="connsiteY3" fmla="*/ 3786188 h 4079133"/>
              <a:gd name="connsiteX4" fmla="*/ 850106 w 9144000"/>
              <a:gd name="connsiteY4" fmla="*/ 3971924 h 4079133"/>
              <a:gd name="connsiteX5" fmla="*/ 804860 w 9144000"/>
              <a:gd name="connsiteY5" fmla="*/ 4079082 h 4079133"/>
              <a:gd name="connsiteX6" fmla="*/ 766763 w 9144000"/>
              <a:gd name="connsiteY6" fmla="*/ 3983830 h 4079133"/>
              <a:gd name="connsiteX7" fmla="*/ 669131 w 9144000"/>
              <a:gd name="connsiteY7" fmla="*/ 3786188 h 4079133"/>
              <a:gd name="connsiteX8" fmla="*/ 0 w 9144000"/>
              <a:gd name="connsiteY8" fmla="*/ 3783806 h 4079133"/>
              <a:gd name="connsiteX9" fmla="*/ 0 w 9144000"/>
              <a:gd name="connsiteY9" fmla="*/ 0 h 4079133"/>
              <a:gd name="connsiteX0" fmla="*/ 0 w 9144000"/>
              <a:gd name="connsiteY0" fmla="*/ 0 h 4079133"/>
              <a:gd name="connsiteX1" fmla="*/ 9144000 w 9144000"/>
              <a:gd name="connsiteY1" fmla="*/ 0 h 4079133"/>
              <a:gd name="connsiteX2" fmla="*/ 9144000 w 9144000"/>
              <a:gd name="connsiteY2" fmla="*/ 3790950 h 4079133"/>
              <a:gd name="connsiteX3" fmla="*/ 940594 w 9144000"/>
              <a:gd name="connsiteY3" fmla="*/ 3786188 h 4079133"/>
              <a:gd name="connsiteX4" fmla="*/ 850106 w 9144000"/>
              <a:gd name="connsiteY4" fmla="*/ 3971924 h 4079133"/>
              <a:gd name="connsiteX5" fmla="*/ 804860 w 9144000"/>
              <a:gd name="connsiteY5" fmla="*/ 4079082 h 4079133"/>
              <a:gd name="connsiteX6" fmla="*/ 766763 w 9144000"/>
              <a:gd name="connsiteY6" fmla="*/ 3983830 h 4079133"/>
              <a:gd name="connsiteX7" fmla="*/ 669131 w 9144000"/>
              <a:gd name="connsiteY7" fmla="*/ 3786188 h 4079133"/>
              <a:gd name="connsiteX8" fmla="*/ 0 w 9144000"/>
              <a:gd name="connsiteY8" fmla="*/ 3783806 h 4079133"/>
              <a:gd name="connsiteX9" fmla="*/ 0 w 9144000"/>
              <a:gd name="connsiteY9" fmla="*/ 0 h 4079133"/>
              <a:gd name="connsiteX0" fmla="*/ 0 w 9144000"/>
              <a:gd name="connsiteY0" fmla="*/ 0 h 4022693"/>
              <a:gd name="connsiteX1" fmla="*/ 9144000 w 9144000"/>
              <a:gd name="connsiteY1" fmla="*/ 0 h 4022693"/>
              <a:gd name="connsiteX2" fmla="*/ 9144000 w 9144000"/>
              <a:gd name="connsiteY2" fmla="*/ 3790950 h 4022693"/>
              <a:gd name="connsiteX3" fmla="*/ 940594 w 9144000"/>
              <a:gd name="connsiteY3" fmla="*/ 3786188 h 4022693"/>
              <a:gd name="connsiteX4" fmla="*/ 850106 w 9144000"/>
              <a:gd name="connsiteY4" fmla="*/ 3971924 h 4022693"/>
              <a:gd name="connsiteX5" fmla="*/ 800097 w 9144000"/>
              <a:gd name="connsiteY5" fmla="*/ 4021932 h 4022693"/>
              <a:gd name="connsiteX6" fmla="*/ 766763 w 9144000"/>
              <a:gd name="connsiteY6" fmla="*/ 3983830 h 4022693"/>
              <a:gd name="connsiteX7" fmla="*/ 669131 w 9144000"/>
              <a:gd name="connsiteY7" fmla="*/ 3786188 h 4022693"/>
              <a:gd name="connsiteX8" fmla="*/ 0 w 9144000"/>
              <a:gd name="connsiteY8" fmla="*/ 3783806 h 4022693"/>
              <a:gd name="connsiteX9" fmla="*/ 0 w 9144000"/>
              <a:gd name="connsiteY9" fmla="*/ 0 h 4022693"/>
              <a:gd name="connsiteX0" fmla="*/ 0 w 9144000"/>
              <a:gd name="connsiteY0" fmla="*/ 0 h 4022693"/>
              <a:gd name="connsiteX1" fmla="*/ 9144000 w 9144000"/>
              <a:gd name="connsiteY1" fmla="*/ 0 h 4022693"/>
              <a:gd name="connsiteX2" fmla="*/ 9144000 w 9144000"/>
              <a:gd name="connsiteY2" fmla="*/ 3790950 h 4022693"/>
              <a:gd name="connsiteX3" fmla="*/ 940594 w 9144000"/>
              <a:gd name="connsiteY3" fmla="*/ 3786188 h 4022693"/>
              <a:gd name="connsiteX4" fmla="*/ 850106 w 9144000"/>
              <a:gd name="connsiteY4" fmla="*/ 3971924 h 4022693"/>
              <a:gd name="connsiteX5" fmla="*/ 800097 w 9144000"/>
              <a:gd name="connsiteY5" fmla="*/ 4021932 h 4022693"/>
              <a:gd name="connsiteX6" fmla="*/ 766763 w 9144000"/>
              <a:gd name="connsiteY6" fmla="*/ 3983830 h 4022693"/>
              <a:gd name="connsiteX7" fmla="*/ 669131 w 9144000"/>
              <a:gd name="connsiteY7" fmla="*/ 3786188 h 4022693"/>
              <a:gd name="connsiteX8" fmla="*/ 0 w 9144000"/>
              <a:gd name="connsiteY8" fmla="*/ 3783806 h 4022693"/>
              <a:gd name="connsiteX9" fmla="*/ 0 w 9144000"/>
              <a:gd name="connsiteY9" fmla="*/ 0 h 4022693"/>
              <a:gd name="connsiteX0" fmla="*/ 0 w 9144000"/>
              <a:gd name="connsiteY0" fmla="*/ 0 h 4022693"/>
              <a:gd name="connsiteX1" fmla="*/ 9144000 w 9144000"/>
              <a:gd name="connsiteY1" fmla="*/ 0 h 4022693"/>
              <a:gd name="connsiteX2" fmla="*/ 9144000 w 9144000"/>
              <a:gd name="connsiteY2" fmla="*/ 3790950 h 4022693"/>
              <a:gd name="connsiteX3" fmla="*/ 940594 w 9144000"/>
              <a:gd name="connsiteY3" fmla="*/ 3786188 h 4022693"/>
              <a:gd name="connsiteX4" fmla="*/ 850106 w 9144000"/>
              <a:gd name="connsiteY4" fmla="*/ 3971924 h 4022693"/>
              <a:gd name="connsiteX5" fmla="*/ 800097 w 9144000"/>
              <a:gd name="connsiteY5" fmla="*/ 4021932 h 4022693"/>
              <a:gd name="connsiteX6" fmla="*/ 766763 w 9144000"/>
              <a:gd name="connsiteY6" fmla="*/ 3983830 h 4022693"/>
              <a:gd name="connsiteX7" fmla="*/ 669131 w 9144000"/>
              <a:gd name="connsiteY7" fmla="*/ 3786188 h 4022693"/>
              <a:gd name="connsiteX8" fmla="*/ 0 w 9144000"/>
              <a:gd name="connsiteY8" fmla="*/ 3783806 h 4022693"/>
              <a:gd name="connsiteX9" fmla="*/ 0 w 9144000"/>
              <a:gd name="connsiteY9" fmla="*/ 0 h 4022693"/>
              <a:gd name="connsiteX0" fmla="*/ 0 w 9144000"/>
              <a:gd name="connsiteY0" fmla="*/ 0 h 4022693"/>
              <a:gd name="connsiteX1" fmla="*/ 9144000 w 9144000"/>
              <a:gd name="connsiteY1" fmla="*/ 0 h 4022693"/>
              <a:gd name="connsiteX2" fmla="*/ 9144000 w 9144000"/>
              <a:gd name="connsiteY2" fmla="*/ 3790950 h 4022693"/>
              <a:gd name="connsiteX3" fmla="*/ 940594 w 9144000"/>
              <a:gd name="connsiteY3" fmla="*/ 3786188 h 4022693"/>
              <a:gd name="connsiteX4" fmla="*/ 850106 w 9144000"/>
              <a:gd name="connsiteY4" fmla="*/ 3971924 h 4022693"/>
              <a:gd name="connsiteX5" fmla="*/ 804860 w 9144000"/>
              <a:gd name="connsiteY5" fmla="*/ 4021932 h 4022693"/>
              <a:gd name="connsiteX6" fmla="*/ 766763 w 9144000"/>
              <a:gd name="connsiteY6" fmla="*/ 3983830 h 4022693"/>
              <a:gd name="connsiteX7" fmla="*/ 669131 w 9144000"/>
              <a:gd name="connsiteY7" fmla="*/ 3786188 h 4022693"/>
              <a:gd name="connsiteX8" fmla="*/ 0 w 9144000"/>
              <a:gd name="connsiteY8" fmla="*/ 3783806 h 4022693"/>
              <a:gd name="connsiteX9" fmla="*/ 0 w 9144000"/>
              <a:gd name="connsiteY9" fmla="*/ 0 h 4022693"/>
              <a:gd name="connsiteX0" fmla="*/ 0 w 9144000"/>
              <a:gd name="connsiteY0" fmla="*/ 0 h 4021943"/>
              <a:gd name="connsiteX1" fmla="*/ 9144000 w 9144000"/>
              <a:gd name="connsiteY1" fmla="*/ 0 h 4021943"/>
              <a:gd name="connsiteX2" fmla="*/ 9144000 w 9144000"/>
              <a:gd name="connsiteY2" fmla="*/ 3790950 h 4021943"/>
              <a:gd name="connsiteX3" fmla="*/ 940594 w 9144000"/>
              <a:gd name="connsiteY3" fmla="*/ 3786188 h 4021943"/>
              <a:gd name="connsiteX4" fmla="*/ 850106 w 9144000"/>
              <a:gd name="connsiteY4" fmla="*/ 3971924 h 4021943"/>
              <a:gd name="connsiteX5" fmla="*/ 804860 w 9144000"/>
              <a:gd name="connsiteY5" fmla="*/ 4021932 h 4021943"/>
              <a:gd name="connsiteX6" fmla="*/ 766763 w 9144000"/>
              <a:gd name="connsiteY6" fmla="*/ 3983830 h 4021943"/>
              <a:gd name="connsiteX7" fmla="*/ 669131 w 9144000"/>
              <a:gd name="connsiteY7" fmla="*/ 3786188 h 4021943"/>
              <a:gd name="connsiteX8" fmla="*/ 0 w 9144000"/>
              <a:gd name="connsiteY8" fmla="*/ 3783806 h 4021943"/>
              <a:gd name="connsiteX9" fmla="*/ 0 w 9144000"/>
              <a:gd name="connsiteY9" fmla="*/ 0 h 4021943"/>
              <a:gd name="connsiteX0" fmla="*/ 0 w 9144000"/>
              <a:gd name="connsiteY0" fmla="*/ 0 h 4021943"/>
              <a:gd name="connsiteX1" fmla="*/ 9144000 w 9144000"/>
              <a:gd name="connsiteY1" fmla="*/ 0 h 4021943"/>
              <a:gd name="connsiteX2" fmla="*/ 9144000 w 9144000"/>
              <a:gd name="connsiteY2" fmla="*/ 3790950 h 4021943"/>
              <a:gd name="connsiteX3" fmla="*/ 940594 w 9144000"/>
              <a:gd name="connsiteY3" fmla="*/ 3786188 h 4021943"/>
              <a:gd name="connsiteX4" fmla="*/ 850106 w 9144000"/>
              <a:gd name="connsiteY4" fmla="*/ 3971924 h 4021943"/>
              <a:gd name="connsiteX5" fmla="*/ 804860 w 9144000"/>
              <a:gd name="connsiteY5" fmla="*/ 4021932 h 4021943"/>
              <a:gd name="connsiteX6" fmla="*/ 766763 w 9144000"/>
              <a:gd name="connsiteY6" fmla="*/ 3983830 h 4021943"/>
              <a:gd name="connsiteX7" fmla="*/ 669131 w 9144000"/>
              <a:gd name="connsiteY7" fmla="*/ 3786188 h 4021943"/>
              <a:gd name="connsiteX8" fmla="*/ 0 w 9144000"/>
              <a:gd name="connsiteY8" fmla="*/ 3783806 h 4021943"/>
              <a:gd name="connsiteX9" fmla="*/ 0 w 9144000"/>
              <a:gd name="connsiteY9" fmla="*/ 0 h 4021943"/>
              <a:gd name="connsiteX0" fmla="*/ 0 w 9144000"/>
              <a:gd name="connsiteY0" fmla="*/ 0 h 4021932"/>
              <a:gd name="connsiteX1" fmla="*/ 9144000 w 9144000"/>
              <a:gd name="connsiteY1" fmla="*/ 0 h 4021932"/>
              <a:gd name="connsiteX2" fmla="*/ 9144000 w 9144000"/>
              <a:gd name="connsiteY2" fmla="*/ 3790950 h 4021932"/>
              <a:gd name="connsiteX3" fmla="*/ 940594 w 9144000"/>
              <a:gd name="connsiteY3" fmla="*/ 3786188 h 4021932"/>
              <a:gd name="connsiteX4" fmla="*/ 850106 w 9144000"/>
              <a:gd name="connsiteY4" fmla="*/ 3971924 h 4021932"/>
              <a:gd name="connsiteX5" fmla="*/ 804860 w 9144000"/>
              <a:gd name="connsiteY5" fmla="*/ 4021932 h 4021932"/>
              <a:gd name="connsiteX6" fmla="*/ 762000 w 9144000"/>
              <a:gd name="connsiteY6" fmla="*/ 3971923 h 4021932"/>
              <a:gd name="connsiteX7" fmla="*/ 669131 w 9144000"/>
              <a:gd name="connsiteY7" fmla="*/ 3786188 h 4021932"/>
              <a:gd name="connsiteX8" fmla="*/ 0 w 9144000"/>
              <a:gd name="connsiteY8" fmla="*/ 3783806 h 4021932"/>
              <a:gd name="connsiteX9" fmla="*/ 0 w 9144000"/>
              <a:gd name="connsiteY9" fmla="*/ 0 h 4021932"/>
              <a:gd name="connsiteX0" fmla="*/ 0 w 9144000"/>
              <a:gd name="connsiteY0" fmla="*/ 0 h 4021932"/>
              <a:gd name="connsiteX1" fmla="*/ 9144000 w 9144000"/>
              <a:gd name="connsiteY1" fmla="*/ 0 h 4021932"/>
              <a:gd name="connsiteX2" fmla="*/ 9144000 w 9144000"/>
              <a:gd name="connsiteY2" fmla="*/ 3790950 h 4021932"/>
              <a:gd name="connsiteX3" fmla="*/ 940594 w 9144000"/>
              <a:gd name="connsiteY3" fmla="*/ 3786188 h 4021932"/>
              <a:gd name="connsiteX4" fmla="*/ 850106 w 9144000"/>
              <a:gd name="connsiteY4" fmla="*/ 3971924 h 4021932"/>
              <a:gd name="connsiteX5" fmla="*/ 804860 w 9144000"/>
              <a:gd name="connsiteY5" fmla="*/ 4021932 h 4021932"/>
              <a:gd name="connsiteX6" fmla="*/ 762000 w 9144000"/>
              <a:gd name="connsiteY6" fmla="*/ 3971923 h 4021932"/>
              <a:gd name="connsiteX7" fmla="*/ 669131 w 9144000"/>
              <a:gd name="connsiteY7" fmla="*/ 3786188 h 4021932"/>
              <a:gd name="connsiteX8" fmla="*/ 0 w 9144000"/>
              <a:gd name="connsiteY8" fmla="*/ 3783806 h 4021932"/>
              <a:gd name="connsiteX9" fmla="*/ 0 w 9144000"/>
              <a:gd name="connsiteY9" fmla="*/ 0 h 4021932"/>
              <a:gd name="connsiteX0" fmla="*/ 9330 w 9144000"/>
              <a:gd name="connsiteY0" fmla="*/ 0 h 5365540"/>
              <a:gd name="connsiteX1" fmla="*/ 9144000 w 9144000"/>
              <a:gd name="connsiteY1" fmla="*/ 1343608 h 5365540"/>
              <a:gd name="connsiteX2" fmla="*/ 9144000 w 9144000"/>
              <a:gd name="connsiteY2" fmla="*/ 5134558 h 5365540"/>
              <a:gd name="connsiteX3" fmla="*/ 940594 w 9144000"/>
              <a:gd name="connsiteY3" fmla="*/ 5129796 h 5365540"/>
              <a:gd name="connsiteX4" fmla="*/ 850106 w 9144000"/>
              <a:gd name="connsiteY4" fmla="*/ 5315532 h 5365540"/>
              <a:gd name="connsiteX5" fmla="*/ 804860 w 9144000"/>
              <a:gd name="connsiteY5" fmla="*/ 5365540 h 5365540"/>
              <a:gd name="connsiteX6" fmla="*/ 762000 w 9144000"/>
              <a:gd name="connsiteY6" fmla="*/ 5315531 h 5365540"/>
              <a:gd name="connsiteX7" fmla="*/ 669131 w 9144000"/>
              <a:gd name="connsiteY7" fmla="*/ 5129796 h 5365540"/>
              <a:gd name="connsiteX8" fmla="*/ 0 w 9144000"/>
              <a:gd name="connsiteY8" fmla="*/ 5127414 h 5365540"/>
              <a:gd name="connsiteX9" fmla="*/ 9330 w 9144000"/>
              <a:gd name="connsiteY9" fmla="*/ 0 h 5365540"/>
              <a:gd name="connsiteX0" fmla="*/ 9330 w 9144000"/>
              <a:gd name="connsiteY0" fmla="*/ 0 h 5365540"/>
              <a:gd name="connsiteX1" fmla="*/ 9144000 w 9144000"/>
              <a:gd name="connsiteY1" fmla="*/ 18661 h 5365540"/>
              <a:gd name="connsiteX2" fmla="*/ 9144000 w 9144000"/>
              <a:gd name="connsiteY2" fmla="*/ 5134558 h 5365540"/>
              <a:gd name="connsiteX3" fmla="*/ 940594 w 9144000"/>
              <a:gd name="connsiteY3" fmla="*/ 5129796 h 5365540"/>
              <a:gd name="connsiteX4" fmla="*/ 850106 w 9144000"/>
              <a:gd name="connsiteY4" fmla="*/ 5315532 h 5365540"/>
              <a:gd name="connsiteX5" fmla="*/ 804860 w 9144000"/>
              <a:gd name="connsiteY5" fmla="*/ 5365540 h 5365540"/>
              <a:gd name="connsiteX6" fmla="*/ 762000 w 9144000"/>
              <a:gd name="connsiteY6" fmla="*/ 5315531 h 5365540"/>
              <a:gd name="connsiteX7" fmla="*/ 669131 w 9144000"/>
              <a:gd name="connsiteY7" fmla="*/ 5129796 h 5365540"/>
              <a:gd name="connsiteX8" fmla="*/ 0 w 9144000"/>
              <a:gd name="connsiteY8" fmla="*/ 5127414 h 5365540"/>
              <a:gd name="connsiteX9" fmla="*/ 9330 w 9144000"/>
              <a:gd name="connsiteY9" fmla="*/ 0 h 5365540"/>
              <a:gd name="connsiteX0" fmla="*/ 9330 w 9144000"/>
              <a:gd name="connsiteY0" fmla="*/ 0 h 5365540"/>
              <a:gd name="connsiteX1" fmla="*/ 9144000 w 9144000"/>
              <a:gd name="connsiteY1" fmla="*/ 9331 h 5365540"/>
              <a:gd name="connsiteX2" fmla="*/ 9144000 w 9144000"/>
              <a:gd name="connsiteY2" fmla="*/ 5134558 h 5365540"/>
              <a:gd name="connsiteX3" fmla="*/ 940594 w 9144000"/>
              <a:gd name="connsiteY3" fmla="*/ 5129796 h 5365540"/>
              <a:gd name="connsiteX4" fmla="*/ 850106 w 9144000"/>
              <a:gd name="connsiteY4" fmla="*/ 5315532 h 5365540"/>
              <a:gd name="connsiteX5" fmla="*/ 804860 w 9144000"/>
              <a:gd name="connsiteY5" fmla="*/ 5365540 h 5365540"/>
              <a:gd name="connsiteX6" fmla="*/ 762000 w 9144000"/>
              <a:gd name="connsiteY6" fmla="*/ 5315531 h 5365540"/>
              <a:gd name="connsiteX7" fmla="*/ 669131 w 9144000"/>
              <a:gd name="connsiteY7" fmla="*/ 5129796 h 5365540"/>
              <a:gd name="connsiteX8" fmla="*/ 0 w 9144000"/>
              <a:gd name="connsiteY8" fmla="*/ 5127414 h 5365540"/>
              <a:gd name="connsiteX9" fmla="*/ 9330 w 9144000"/>
              <a:gd name="connsiteY9" fmla="*/ 0 h 5365540"/>
              <a:gd name="connsiteX0" fmla="*/ 9330 w 9144000"/>
              <a:gd name="connsiteY0" fmla="*/ 18661 h 5384201"/>
              <a:gd name="connsiteX1" fmla="*/ 9144000 w 9144000"/>
              <a:gd name="connsiteY1" fmla="*/ 0 h 5384201"/>
              <a:gd name="connsiteX2" fmla="*/ 9144000 w 9144000"/>
              <a:gd name="connsiteY2" fmla="*/ 5153219 h 5384201"/>
              <a:gd name="connsiteX3" fmla="*/ 940594 w 9144000"/>
              <a:gd name="connsiteY3" fmla="*/ 5148457 h 5384201"/>
              <a:gd name="connsiteX4" fmla="*/ 850106 w 9144000"/>
              <a:gd name="connsiteY4" fmla="*/ 5334193 h 5384201"/>
              <a:gd name="connsiteX5" fmla="*/ 804860 w 9144000"/>
              <a:gd name="connsiteY5" fmla="*/ 5384201 h 5384201"/>
              <a:gd name="connsiteX6" fmla="*/ 762000 w 9144000"/>
              <a:gd name="connsiteY6" fmla="*/ 5334192 h 5384201"/>
              <a:gd name="connsiteX7" fmla="*/ 669131 w 9144000"/>
              <a:gd name="connsiteY7" fmla="*/ 5148457 h 5384201"/>
              <a:gd name="connsiteX8" fmla="*/ 0 w 9144000"/>
              <a:gd name="connsiteY8" fmla="*/ 5146075 h 5384201"/>
              <a:gd name="connsiteX9" fmla="*/ 9330 w 9144000"/>
              <a:gd name="connsiteY9" fmla="*/ 18661 h 5384201"/>
              <a:gd name="connsiteX0" fmla="*/ 9330 w 9144000"/>
              <a:gd name="connsiteY0" fmla="*/ 18661 h 5384201"/>
              <a:gd name="connsiteX1" fmla="*/ 9144000 w 9144000"/>
              <a:gd name="connsiteY1" fmla="*/ 0 h 5384201"/>
              <a:gd name="connsiteX2" fmla="*/ 9144000 w 9144000"/>
              <a:gd name="connsiteY2" fmla="*/ 5153219 h 5384201"/>
              <a:gd name="connsiteX3" fmla="*/ 940594 w 9144000"/>
              <a:gd name="connsiteY3" fmla="*/ 5148457 h 5384201"/>
              <a:gd name="connsiteX4" fmla="*/ 850106 w 9144000"/>
              <a:gd name="connsiteY4" fmla="*/ 5334193 h 5384201"/>
              <a:gd name="connsiteX5" fmla="*/ 804860 w 9144000"/>
              <a:gd name="connsiteY5" fmla="*/ 5384201 h 5384201"/>
              <a:gd name="connsiteX6" fmla="*/ 762000 w 9144000"/>
              <a:gd name="connsiteY6" fmla="*/ 5334192 h 5384201"/>
              <a:gd name="connsiteX7" fmla="*/ 669131 w 9144000"/>
              <a:gd name="connsiteY7" fmla="*/ 5148457 h 5384201"/>
              <a:gd name="connsiteX8" fmla="*/ 0 w 9144000"/>
              <a:gd name="connsiteY8" fmla="*/ 5146075 h 5384201"/>
              <a:gd name="connsiteX9" fmla="*/ 9330 w 9144000"/>
              <a:gd name="connsiteY9" fmla="*/ 18661 h 5384201"/>
              <a:gd name="connsiteX0" fmla="*/ 9330 w 9144000"/>
              <a:gd name="connsiteY0" fmla="*/ 27992 h 5384201"/>
              <a:gd name="connsiteX1" fmla="*/ 9144000 w 9144000"/>
              <a:gd name="connsiteY1" fmla="*/ 0 h 5384201"/>
              <a:gd name="connsiteX2" fmla="*/ 9144000 w 9144000"/>
              <a:gd name="connsiteY2" fmla="*/ 5153219 h 5384201"/>
              <a:gd name="connsiteX3" fmla="*/ 940594 w 9144000"/>
              <a:gd name="connsiteY3" fmla="*/ 5148457 h 5384201"/>
              <a:gd name="connsiteX4" fmla="*/ 850106 w 9144000"/>
              <a:gd name="connsiteY4" fmla="*/ 5334193 h 5384201"/>
              <a:gd name="connsiteX5" fmla="*/ 804860 w 9144000"/>
              <a:gd name="connsiteY5" fmla="*/ 5384201 h 5384201"/>
              <a:gd name="connsiteX6" fmla="*/ 762000 w 9144000"/>
              <a:gd name="connsiteY6" fmla="*/ 5334192 h 5384201"/>
              <a:gd name="connsiteX7" fmla="*/ 669131 w 9144000"/>
              <a:gd name="connsiteY7" fmla="*/ 5148457 h 5384201"/>
              <a:gd name="connsiteX8" fmla="*/ 0 w 9144000"/>
              <a:gd name="connsiteY8" fmla="*/ 5146075 h 5384201"/>
              <a:gd name="connsiteX9" fmla="*/ 9330 w 9144000"/>
              <a:gd name="connsiteY9" fmla="*/ 27992 h 5384201"/>
              <a:gd name="connsiteX0" fmla="*/ 6949 w 9144000"/>
              <a:gd name="connsiteY0" fmla="*/ 8941 h 5384201"/>
              <a:gd name="connsiteX1" fmla="*/ 9144000 w 9144000"/>
              <a:gd name="connsiteY1" fmla="*/ 0 h 5384201"/>
              <a:gd name="connsiteX2" fmla="*/ 9144000 w 9144000"/>
              <a:gd name="connsiteY2" fmla="*/ 5153219 h 5384201"/>
              <a:gd name="connsiteX3" fmla="*/ 940594 w 9144000"/>
              <a:gd name="connsiteY3" fmla="*/ 5148457 h 5384201"/>
              <a:gd name="connsiteX4" fmla="*/ 850106 w 9144000"/>
              <a:gd name="connsiteY4" fmla="*/ 5334193 h 5384201"/>
              <a:gd name="connsiteX5" fmla="*/ 804860 w 9144000"/>
              <a:gd name="connsiteY5" fmla="*/ 5384201 h 5384201"/>
              <a:gd name="connsiteX6" fmla="*/ 762000 w 9144000"/>
              <a:gd name="connsiteY6" fmla="*/ 5334192 h 5384201"/>
              <a:gd name="connsiteX7" fmla="*/ 669131 w 9144000"/>
              <a:gd name="connsiteY7" fmla="*/ 5148457 h 5384201"/>
              <a:gd name="connsiteX8" fmla="*/ 0 w 9144000"/>
              <a:gd name="connsiteY8" fmla="*/ 5146075 h 5384201"/>
              <a:gd name="connsiteX9" fmla="*/ 6949 w 9144000"/>
              <a:gd name="connsiteY9" fmla="*/ 8941 h 5384201"/>
              <a:gd name="connsiteX0" fmla="*/ 6949 w 9144000"/>
              <a:gd name="connsiteY0" fmla="*/ 0 h 5375260"/>
              <a:gd name="connsiteX1" fmla="*/ 9144000 w 9144000"/>
              <a:gd name="connsiteY1" fmla="*/ 584 h 5375260"/>
              <a:gd name="connsiteX2" fmla="*/ 9144000 w 9144000"/>
              <a:gd name="connsiteY2" fmla="*/ 5144278 h 5375260"/>
              <a:gd name="connsiteX3" fmla="*/ 940594 w 9144000"/>
              <a:gd name="connsiteY3" fmla="*/ 5139516 h 5375260"/>
              <a:gd name="connsiteX4" fmla="*/ 850106 w 9144000"/>
              <a:gd name="connsiteY4" fmla="*/ 5325252 h 5375260"/>
              <a:gd name="connsiteX5" fmla="*/ 804860 w 9144000"/>
              <a:gd name="connsiteY5" fmla="*/ 5375260 h 5375260"/>
              <a:gd name="connsiteX6" fmla="*/ 762000 w 9144000"/>
              <a:gd name="connsiteY6" fmla="*/ 5325251 h 5375260"/>
              <a:gd name="connsiteX7" fmla="*/ 669131 w 9144000"/>
              <a:gd name="connsiteY7" fmla="*/ 5139516 h 5375260"/>
              <a:gd name="connsiteX8" fmla="*/ 0 w 9144000"/>
              <a:gd name="connsiteY8" fmla="*/ 5137134 h 5375260"/>
              <a:gd name="connsiteX9" fmla="*/ 6949 w 9144000"/>
              <a:gd name="connsiteY9" fmla="*/ 0 h 5375260"/>
              <a:gd name="connsiteX0" fmla="*/ 2186 w 9144000"/>
              <a:gd name="connsiteY0" fmla="*/ 0 h 5377641"/>
              <a:gd name="connsiteX1" fmla="*/ 9144000 w 9144000"/>
              <a:gd name="connsiteY1" fmla="*/ 2965 h 5377641"/>
              <a:gd name="connsiteX2" fmla="*/ 9144000 w 9144000"/>
              <a:gd name="connsiteY2" fmla="*/ 5146659 h 5377641"/>
              <a:gd name="connsiteX3" fmla="*/ 940594 w 9144000"/>
              <a:gd name="connsiteY3" fmla="*/ 5141897 h 5377641"/>
              <a:gd name="connsiteX4" fmla="*/ 850106 w 9144000"/>
              <a:gd name="connsiteY4" fmla="*/ 5327633 h 5377641"/>
              <a:gd name="connsiteX5" fmla="*/ 804860 w 9144000"/>
              <a:gd name="connsiteY5" fmla="*/ 5377641 h 5377641"/>
              <a:gd name="connsiteX6" fmla="*/ 762000 w 9144000"/>
              <a:gd name="connsiteY6" fmla="*/ 5327632 h 5377641"/>
              <a:gd name="connsiteX7" fmla="*/ 669131 w 9144000"/>
              <a:gd name="connsiteY7" fmla="*/ 5141897 h 5377641"/>
              <a:gd name="connsiteX8" fmla="*/ 0 w 9144000"/>
              <a:gd name="connsiteY8" fmla="*/ 5139515 h 5377641"/>
              <a:gd name="connsiteX9" fmla="*/ 2186 w 9144000"/>
              <a:gd name="connsiteY9" fmla="*/ 0 h 537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377641">
                <a:moveTo>
                  <a:pt x="2186" y="0"/>
                </a:moveTo>
                <a:lnTo>
                  <a:pt x="9144000" y="2965"/>
                </a:lnTo>
                <a:lnTo>
                  <a:pt x="9144000" y="5146659"/>
                </a:lnTo>
                <a:lnTo>
                  <a:pt x="940594" y="5141897"/>
                </a:lnTo>
                <a:cubicBezTo>
                  <a:pt x="897334" y="5226035"/>
                  <a:pt x="872728" y="5287152"/>
                  <a:pt x="850106" y="5327633"/>
                </a:cubicBezTo>
                <a:cubicBezTo>
                  <a:pt x="827484" y="5368114"/>
                  <a:pt x="819544" y="5377641"/>
                  <a:pt x="804860" y="5377641"/>
                </a:cubicBezTo>
                <a:cubicBezTo>
                  <a:pt x="790176" y="5377641"/>
                  <a:pt x="778668" y="5357001"/>
                  <a:pt x="762000" y="5327632"/>
                </a:cubicBezTo>
                <a:cubicBezTo>
                  <a:pt x="738188" y="5286357"/>
                  <a:pt x="711200" y="5232384"/>
                  <a:pt x="669131" y="5141897"/>
                </a:cubicBezTo>
                <a:lnTo>
                  <a:pt x="0" y="5139515"/>
                </a:lnTo>
                <a:cubicBezTo>
                  <a:pt x="2316" y="3427137"/>
                  <a:pt x="-130" y="1712378"/>
                  <a:pt x="2186" y="0"/>
                </a:cubicBezTo>
                <a:close/>
              </a:path>
            </a:pathLst>
          </a:custGeom>
        </p:spPr>
        <p:txBody>
          <a:bodyPr anchor="ctr" anchorCtr="0"/>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2613206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hank You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781050"/>
            <a:ext cx="3308096" cy="4276852"/>
          </a:xfrm>
        </p:spPr>
        <p:txBody>
          <a:bodyPr vert="horz" lIns="0" tIns="0" rIns="0" bIns="0" rtlCol="0">
            <a:noAutofit/>
          </a:bodyPr>
          <a:lstStyle>
            <a:lvl1pPr marL="0" indent="0">
              <a:spcBef>
                <a:spcPts val="1500"/>
              </a:spcBef>
              <a:buNone/>
              <a:defRPr lang="en-US" sz="1200" b="1" dirty="0">
                <a:solidFill>
                  <a:schemeClr val="accent1"/>
                </a:solidFill>
              </a:defRPr>
            </a:lvl1pPr>
            <a:lvl2pPr marL="341297" indent="-341297">
              <a:spcBef>
                <a:spcPts val="0"/>
              </a:spcBef>
              <a:buNone/>
              <a:defRPr lang="en-US" sz="1200" dirty="0"/>
            </a:lvl2pPr>
            <a:lvl3pPr>
              <a:defRPr lang="en-US" dirty="0"/>
            </a:lvl3pPr>
            <a:lvl4pPr>
              <a:defRPr lang="en-US" dirty="0"/>
            </a:lvl4pPr>
            <a:lvl5pPr>
              <a:defRPr lang="en-US" dirty="0"/>
            </a:lvl5pPr>
          </a:lstStyle>
          <a:p>
            <a:pPr lvl="0"/>
            <a:r>
              <a:rPr lang="en-US"/>
              <a:t>Edit Master text styles</a:t>
            </a:r>
          </a:p>
          <a:p>
            <a:pPr lvl="1"/>
            <a:r>
              <a:rPr lang="en-US"/>
              <a:t>Second level</a:t>
            </a:r>
          </a:p>
        </p:txBody>
      </p:sp>
      <p:sp>
        <p:nvSpPr>
          <p:cNvPr id="5" name="Text Placeholder 4"/>
          <p:cNvSpPr>
            <a:spLocks noGrp="1"/>
          </p:cNvSpPr>
          <p:nvPr>
            <p:ph type="body" sz="quarter" idx="20"/>
          </p:nvPr>
        </p:nvSpPr>
        <p:spPr>
          <a:xfrm>
            <a:off x="609600" y="1268985"/>
            <a:ext cx="10972800" cy="291592"/>
          </a:xfrm>
        </p:spPr>
        <p:txBody>
          <a:bodyPr/>
          <a:lstStyle>
            <a:lvl1pPr marL="0" indent="0">
              <a:buNone/>
              <a:defRPr sz="1400"/>
            </a:lvl1pPr>
            <a:lvl2pPr marL="230177" indent="0">
              <a:buNone/>
              <a:defRPr/>
            </a:lvl2pPr>
          </a:lstStyle>
          <a:p>
            <a:pPr lvl="0"/>
            <a:r>
              <a:rPr lang="en-US"/>
              <a:t>Edit Master text styles</a:t>
            </a:r>
          </a:p>
        </p:txBody>
      </p:sp>
      <p:sp>
        <p:nvSpPr>
          <p:cNvPr id="15" name="Content Placeholder 2"/>
          <p:cNvSpPr>
            <a:spLocks noGrp="1"/>
          </p:cNvSpPr>
          <p:nvPr>
            <p:ph sz="half" idx="21"/>
          </p:nvPr>
        </p:nvSpPr>
        <p:spPr>
          <a:xfrm>
            <a:off x="4267200" y="1781050"/>
            <a:ext cx="3308096" cy="4276852"/>
          </a:xfrm>
        </p:spPr>
        <p:txBody>
          <a:bodyPr vert="horz" lIns="0" tIns="0" rIns="0" bIns="0" rtlCol="0">
            <a:noAutofit/>
          </a:bodyPr>
          <a:lstStyle>
            <a:lvl1pPr marL="0" indent="0">
              <a:spcBef>
                <a:spcPts val="1500"/>
              </a:spcBef>
              <a:buNone/>
              <a:defRPr lang="en-US" sz="1200" b="1" dirty="0">
                <a:solidFill>
                  <a:schemeClr val="accent1"/>
                </a:solidFill>
              </a:defRPr>
            </a:lvl1pPr>
            <a:lvl2pPr marL="341297" indent="-341297">
              <a:spcBef>
                <a:spcPts val="0"/>
              </a:spcBef>
              <a:buNone/>
              <a:defRPr lang="en-US" sz="1200" dirty="0"/>
            </a:lvl2pPr>
            <a:lvl3pPr>
              <a:defRPr lang="en-US" dirty="0"/>
            </a:lvl3pPr>
            <a:lvl4pPr>
              <a:defRPr lang="en-US" dirty="0"/>
            </a:lvl4pPr>
            <a:lvl5pPr>
              <a:defRPr lang="en-US" dirty="0"/>
            </a:lvl5pPr>
          </a:lstStyle>
          <a:p>
            <a:pPr lvl="0"/>
            <a:r>
              <a:rPr lang="en-US"/>
              <a:t>Edit Master text styles</a:t>
            </a:r>
          </a:p>
          <a:p>
            <a:pPr lvl="1"/>
            <a:r>
              <a:rPr lang="en-US"/>
              <a:t>Second level</a:t>
            </a:r>
          </a:p>
        </p:txBody>
      </p:sp>
      <p:sp>
        <p:nvSpPr>
          <p:cNvPr id="16" name="Content Placeholder 2"/>
          <p:cNvSpPr>
            <a:spLocks noGrp="1"/>
          </p:cNvSpPr>
          <p:nvPr>
            <p:ph sz="half" idx="22"/>
          </p:nvPr>
        </p:nvSpPr>
        <p:spPr>
          <a:xfrm>
            <a:off x="7924800" y="1781050"/>
            <a:ext cx="3308096" cy="4276852"/>
          </a:xfrm>
        </p:spPr>
        <p:txBody>
          <a:bodyPr vert="horz" lIns="0" tIns="0" rIns="0" bIns="0" rtlCol="0">
            <a:noAutofit/>
          </a:bodyPr>
          <a:lstStyle>
            <a:lvl1pPr marL="0" indent="0">
              <a:spcBef>
                <a:spcPts val="1500"/>
              </a:spcBef>
              <a:buNone/>
              <a:defRPr lang="en-US" sz="1200" b="1" dirty="0">
                <a:solidFill>
                  <a:schemeClr val="accent1"/>
                </a:solidFill>
              </a:defRPr>
            </a:lvl1pPr>
            <a:lvl2pPr marL="341297" indent="-341297">
              <a:spcBef>
                <a:spcPts val="0"/>
              </a:spcBef>
              <a:buNone/>
              <a:defRPr lang="en-US" sz="1200" dirty="0"/>
            </a:lvl2pPr>
            <a:lvl3pPr>
              <a:defRPr lang="en-US" dirty="0"/>
            </a:lvl3pPr>
            <a:lvl4pPr>
              <a:defRPr lang="en-US" dirty="0"/>
            </a:lvl4pPr>
            <a:lvl5pPr>
              <a:defRPr lang="en-US" dirty="0"/>
            </a:lvl5pPr>
          </a:lstStyle>
          <a:p>
            <a:pPr lvl="0"/>
            <a:r>
              <a:rPr lang="en-US"/>
              <a:t>Edit Master text styles</a:t>
            </a:r>
          </a:p>
          <a:p>
            <a:pPr lvl="1"/>
            <a:r>
              <a:rPr lang="en-US"/>
              <a:t>Second level</a:t>
            </a:r>
          </a:p>
        </p:txBody>
      </p:sp>
      <p:sp>
        <p:nvSpPr>
          <p:cNvPr id="9"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
        <p:nvSpPr>
          <p:cNvPr id="10"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1"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Tree>
    <p:extLst>
      <p:ext uri="{BB962C8B-B14F-4D97-AF65-F5344CB8AC3E}">
        <p14:creationId xmlns:p14="http://schemas.microsoft.com/office/powerpoint/2010/main" val="182763655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matchingName="Section Header">
  <p:cSld name="1_Section Header">
    <p:bg>
      <p:bgPr>
        <a:solidFill>
          <a:schemeClr val="dk2"/>
        </a:solidFill>
        <a:effectLst/>
      </p:bgPr>
    </p:bg>
    <p:spTree>
      <p:nvGrpSpPr>
        <p:cNvPr id="1" name="Shape 39"/>
        <p:cNvGrpSpPr/>
        <p:nvPr/>
      </p:nvGrpSpPr>
      <p:grpSpPr>
        <a:xfrm>
          <a:off x="0" y="0"/>
          <a:ext cx="0" cy="0"/>
          <a:chOff x="0" y="0"/>
          <a:chExt cx="0" cy="0"/>
        </a:xfrm>
      </p:grpSpPr>
      <p:sp>
        <p:nvSpPr>
          <p:cNvPr id="40" name="Google Shape;40;p30"/>
          <p:cNvSpPr txBox="1">
            <a:spLocks noGrp="1"/>
          </p:cNvSpPr>
          <p:nvPr>
            <p:ph type="title"/>
          </p:nvPr>
        </p:nvSpPr>
        <p:spPr>
          <a:xfrm>
            <a:off x="917367" y="2150435"/>
            <a:ext cx="10685412" cy="4088141"/>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rgbClr val="FFFFFF"/>
              </a:buClr>
              <a:buSzPts val="5400"/>
              <a:buFont typeface="Arial"/>
              <a:buNone/>
              <a:defRPr sz="5400" b="1" cap="none">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30"/>
          <p:cNvSpPr/>
          <p:nvPr/>
        </p:nvSpPr>
        <p:spPr>
          <a:xfrm>
            <a:off x="10559823" y="6350477"/>
            <a:ext cx="1022352" cy="334835"/>
          </a:xfrm>
          <a:custGeom>
            <a:avLst/>
            <a:gdLst/>
            <a:ahLst/>
            <a:cxnLst/>
            <a:rect l="l" t="t" r="r" b="b"/>
            <a:pathLst>
              <a:path w="511" h="221" extrusionOk="0">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srgbClr val="53565A"/>
              </a:solidFill>
              <a:effectLst/>
              <a:uLnTx/>
              <a:uFillTx/>
              <a:latin typeface="Arial"/>
              <a:ea typeface="Arial"/>
              <a:cs typeface="Arial"/>
              <a:sym typeface="Arial"/>
            </a:endParaRPr>
          </a:p>
        </p:txBody>
      </p:sp>
    </p:spTree>
    <p:extLst>
      <p:ext uri="{BB962C8B-B14F-4D97-AF65-F5344CB8AC3E}">
        <p14:creationId xmlns:p14="http://schemas.microsoft.com/office/powerpoint/2010/main" val="75096380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xfrm>
            <a:off x="7010400" y="6504348"/>
            <a:ext cx="3860800" cy="123111"/>
          </a:xfrm>
          <a:prstGeom prst="rect">
            <a:avLst/>
          </a:prstGeom>
          <a:ln/>
        </p:spPr>
        <p:txBody>
          <a:bodyPr/>
          <a:lstStyle>
            <a:lvl1pPr>
              <a:defRPr/>
            </a:lvl1pPr>
          </a:lstStyle>
          <a:p>
            <a:pPr defTabSz="914354">
              <a:defRPr/>
            </a:pPr>
            <a:endParaRPr lang="en-US">
              <a:solidFill>
                <a:srgbClr val="63666A"/>
              </a:solidFill>
            </a:endParaRPr>
          </a:p>
        </p:txBody>
      </p:sp>
      <p:sp>
        <p:nvSpPr>
          <p:cNvPr id="5" name="Rectangle 6"/>
          <p:cNvSpPr>
            <a:spLocks noGrp="1" noChangeArrowheads="1"/>
          </p:cNvSpPr>
          <p:nvPr>
            <p:ph type="sldNum" sz="quarter" idx="11"/>
          </p:nvPr>
        </p:nvSpPr>
        <p:spPr>
          <a:ln/>
        </p:spPr>
        <p:txBody>
          <a:bodyPr/>
          <a:lstStyle>
            <a:lvl1pPr>
              <a:defRPr/>
            </a:lvl1pPr>
          </a:lstStyle>
          <a:p>
            <a:pPr defTabSz="914354"/>
            <a:fld id="{884091DF-83C0-4A2C-AA8B-B1B5232AC0F2}" type="slidenum">
              <a:rPr lang="en-US" smtClean="0">
                <a:solidFill>
                  <a:srgbClr val="63666A"/>
                </a:solidFill>
              </a:rPr>
              <a:pPr defTabSz="914354"/>
              <a:t>‹#›</a:t>
            </a:fld>
            <a:endParaRPr lang="en-US">
              <a:solidFill>
                <a:srgbClr val="63666A"/>
              </a:solidFill>
            </a:endParaRPr>
          </a:p>
        </p:txBody>
      </p:sp>
    </p:spTree>
    <p:extLst>
      <p:ext uri="{BB962C8B-B14F-4D97-AF65-F5344CB8AC3E}">
        <p14:creationId xmlns:p14="http://schemas.microsoft.com/office/powerpoint/2010/main" val="197187901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reserve="1">
  <p:cSld name="Section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825053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AAD347D-5ACD-4C99-B74B-A9C85AD731AF}" type="datetimeFigureOut">
              <a:rPr lang="en-US" smtClean="0"/>
              <a:t>4/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12789922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4/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58556677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796027F-7875-4030-9381-8BD8C4F21935}" type="datetimeFigureOut">
              <a:rPr lang="en-US" smtClean="0"/>
              <a:t>4/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243350442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796027F-7875-4030-9381-8BD8C4F21935}" type="datetimeFigureOut">
              <a:rPr lang="en-US" smtClean="0"/>
              <a:t>4/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38056601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796027F-7875-4030-9381-8BD8C4F21935}" type="datetimeFigureOut">
              <a:rPr lang="en-US" smtClean="0"/>
              <a:t>4/1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59356944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509A250-FF31-4206-8172-F9D3106AACB1}" type="datetimeFigureOut">
              <a:rPr lang="en-US" smtClean="0"/>
              <a:t>4/1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71877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509A250-FF31-4206-8172-F9D3106AACB1}" type="datetimeFigureOut">
              <a:rPr lang="en-US" smtClean="0"/>
              <a:t>4/1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60763185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509A250-FF31-4206-8172-F9D3106AACB1}" type="datetimeFigureOut">
              <a:rPr lang="en-US" smtClean="0"/>
              <a:t>4/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45250856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509A250-FF31-4206-8172-F9D3106AACB1}" type="datetimeFigureOut">
              <a:rPr lang="en-US" smtClean="0"/>
              <a:t>4/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23435587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4/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82319151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4/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8513800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918" y="273220"/>
            <a:ext cx="10969487" cy="1114517"/>
          </a:xfrm>
          <a:prstGeom prst="rect">
            <a:avLst/>
          </a:prstGeom>
        </p:spPr>
        <p:txBody>
          <a:bodyPr/>
          <a:lstStyle>
            <a:lvl1pPr>
              <a:defRPr sz="4000">
                <a:latin typeface="Arial" panose="020B0604020202020204" pitchFamily="34" charset="0"/>
                <a:cs typeface="Arial" panose="020B0604020202020204" pitchFamily="34" charset="0"/>
              </a:defRPr>
            </a:lvl1pPr>
          </a:lstStyle>
          <a:p>
            <a:r>
              <a:rPr lang="en-US" dirty="0"/>
              <a:t>Slide Title</a:t>
            </a:r>
          </a:p>
        </p:txBody>
      </p:sp>
      <p:sp>
        <p:nvSpPr>
          <p:cNvPr id="4" name="Text Placeholder 3"/>
          <p:cNvSpPr>
            <a:spLocks noGrp="1"/>
          </p:cNvSpPr>
          <p:nvPr>
            <p:ph type="body" sz="quarter" idx="10" hasCustomPrompt="1"/>
          </p:nvPr>
        </p:nvSpPr>
        <p:spPr>
          <a:xfrm>
            <a:off x="613835" y="1495313"/>
            <a:ext cx="10968567" cy="4744123"/>
          </a:xfrm>
          <a:prstGeom prst="rect">
            <a:avLst/>
          </a:prstGeom>
        </p:spPr>
        <p:txBody>
          <a:bodyPr/>
          <a:lstStyle>
            <a:lvl1pPr marL="290506" indent="-290506">
              <a:buClr>
                <a:srgbClr val="A4D55D"/>
              </a:buClr>
              <a:buSzPct val="120000"/>
              <a:buFont typeface="Arial" panose="020B0604020202020204" pitchFamily="34" charset="0"/>
              <a:buChar char="•"/>
              <a:defRPr>
                <a:latin typeface="Arial" panose="020B0604020202020204" pitchFamily="34" charset="0"/>
                <a:cs typeface="Arial" panose="020B0604020202020204" pitchFamily="34" charset="0"/>
              </a:defRPr>
            </a:lvl1pPr>
            <a:lvl2pPr marL="623872" indent="-280981">
              <a:buClr>
                <a:srgbClr val="003DA6"/>
              </a:buClr>
              <a:buSzPct val="80000"/>
              <a:buFont typeface="Wingdings" panose="05000000000000000000" pitchFamily="2" charset="2"/>
              <a:buChar char="Ø"/>
              <a:defRPr sz="2000">
                <a:latin typeface="Arial" panose="020B0604020202020204" pitchFamily="34" charset="0"/>
                <a:cs typeface="Arial" panose="020B0604020202020204" pitchFamily="34" charset="0"/>
              </a:defRPr>
            </a:lvl2pPr>
            <a:lvl3pPr marL="914377" indent="-236533">
              <a:buClr>
                <a:srgbClr val="F5BD47"/>
              </a:buClr>
              <a:buSzPct val="100000"/>
              <a:buFont typeface="Gill Sans MT" panose="020B0502020104020203" pitchFamily="34" charset="0"/>
              <a:buChar char="–"/>
              <a:defRPr sz="1600">
                <a:latin typeface="Arial" panose="020B0604020202020204" pitchFamily="34" charset="0"/>
                <a:cs typeface="Arial" panose="020B0604020202020204" pitchFamily="34" charset="0"/>
              </a:defRPr>
            </a:lvl3pPr>
          </a:lstStyle>
          <a:p>
            <a:pPr lvl="0"/>
            <a:r>
              <a:rPr lang="en-US" dirty="0"/>
              <a:t>First level text</a:t>
            </a:r>
          </a:p>
          <a:p>
            <a:pPr lvl="1"/>
            <a:r>
              <a:rPr lang="en-US" dirty="0"/>
              <a:t>Second level text</a:t>
            </a:r>
          </a:p>
          <a:p>
            <a:pPr lvl="2"/>
            <a:r>
              <a:rPr lang="en-US" dirty="0"/>
              <a:t>Third level text</a:t>
            </a:r>
          </a:p>
        </p:txBody>
      </p:sp>
    </p:spTree>
    <p:extLst>
      <p:ext uri="{BB962C8B-B14F-4D97-AF65-F5344CB8AC3E}">
        <p14:creationId xmlns:p14="http://schemas.microsoft.com/office/powerpoint/2010/main" val="308257049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82367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9" name="TextBox 8"/>
          <p:cNvSpPr txBox="1"/>
          <p:nvPr userDrawn="1"/>
        </p:nvSpPr>
        <p:spPr>
          <a:xfrm rot="10800000" flipV="1">
            <a:off x="0" y="6368438"/>
            <a:ext cx="12192000" cy="369332"/>
          </a:xfrm>
          <a:prstGeom prst="rect">
            <a:avLst/>
          </a:prstGeom>
          <a:noFill/>
        </p:spPr>
        <p:txBody>
          <a:bodyPr wrap="square" rtlCol="0">
            <a:spAutoFit/>
          </a:bodyPr>
          <a:lstStyle/>
          <a:p>
            <a:pPr algn="ctr"/>
            <a:r>
              <a:rPr lang="en-US" sz="1800" b="1" spc="300" baseline="30000" dirty="0">
                <a:solidFill>
                  <a:srgbClr val="96C32D"/>
                </a:solidFill>
                <a:latin typeface="Arial Black"/>
                <a:cs typeface="Arial Black"/>
              </a:rPr>
              <a:t>National Institute for Children’s Health</a:t>
            </a:r>
            <a:r>
              <a:rPr lang="en-US" sz="1800" b="1" spc="300" dirty="0">
                <a:solidFill>
                  <a:srgbClr val="96C32D"/>
                </a:solidFill>
                <a:latin typeface="Arial Black"/>
                <a:cs typeface="Arial Black"/>
              </a:rPr>
              <a:t> </a:t>
            </a:r>
            <a:r>
              <a:rPr lang="en-US" sz="1800" b="1" spc="300" baseline="30000" dirty="0">
                <a:solidFill>
                  <a:srgbClr val="96C32D"/>
                </a:solidFill>
                <a:latin typeface="Arial Black"/>
                <a:cs typeface="Arial Black"/>
              </a:rPr>
              <a:t>Quality </a:t>
            </a:r>
          </a:p>
        </p:txBody>
      </p:sp>
      <p:sp>
        <p:nvSpPr>
          <p:cNvPr id="3" name="Text Placeholder 2"/>
          <p:cNvSpPr>
            <a:spLocks noGrp="1"/>
          </p:cNvSpPr>
          <p:nvPr>
            <p:ph type="body" sz="quarter" idx="10" hasCustomPrompt="1"/>
          </p:nvPr>
        </p:nvSpPr>
        <p:spPr>
          <a:xfrm>
            <a:off x="9032" y="2314001"/>
            <a:ext cx="12192000" cy="1182217"/>
          </a:xfrm>
          <a:prstGeom prst="rect">
            <a:avLst/>
          </a:prstGeom>
        </p:spPr>
        <p:txBody>
          <a:bodyPr anchor="ctr"/>
          <a:lstStyle>
            <a:lvl1pPr marL="0" indent="0" algn="ctr">
              <a:buNone/>
              <a:defRPr sz="4800" baseline="0">
                <a:solidFill>
                  <a:schemeClr val="bg1"/>
                </a:solidFill>
                <a:latin typeface="Arial" panose="020B0604020202020204" pitchFamily="34" charset="0"/>
                <a:cs typeface="Arial" panose="020B0604020202020204" pitchFamily="34" charset="0"/>
              </a:defRPr>
            </a:lvl1pPr>
          </a:lstStyle>
          <a:p>
            <a:pPr lvl="0"/>
            <a:r>
              <a:rPr lang="en-US" dirty="0"/>
              <a:t>Presentation Title</a:t>
            </a:r>
          </a:p>
        </p:txBody>
      </p:sp>
      <p:sp>
        <p:nvSpPr>
          <p:cNvPr id="6" name="Text Placeholder 5"/>
          <p:cNvSpPr>
            <a:spLocks noGrp="1"/>
          </p:cNvSpPr>
          <p:nvPr>
            <p:ph type="body" sz="quarter" idx="11" hasCustomPrompt="1"/>
          </p:nvPr>
        </p:nvSpPr>
        <p:spPr>
          <a:xfrm>
            <a:off x="1" y="3496216"/>
            <a:ext cx="12200467" cy="782637"/>
          </a:xfrm>
          <a:prstGeom prst="rect">
            <a:avLst/>
          </a:prstGeom>
        </p:spPr>
        <p:txBody>
          <a:bodyPr anchor="ctr"/>
          <a:lstStyle>
            <a:lvl1pPr marL="0" indent="0" algn="ctr">
              <a:buNone/>
              <a:defRPr sz="2400" baseline="0">
                <a:solidFill>
                  <a:schemeClr val="bg1"/>
                </a:solidFill>
                <a:latin typeface="Arial" panose="020B0604020202020204" pitchFamily="34" charset="0"/>
                <a:cs typeface="Arial" panose="020B0604020202020204" pitchFamily="34" charset="0"/>
              </a:defRPr>
            </a:lvl1pPr>
          </a:lstStyle>
          <a:p>
            <a:pPr lvl="0"/>
            <a:r>
              <a:rPr lang="en-US" dirty="0"/>
              <a:t>Subtitle, if needed</a:t>
            </a:r>
          </a:p>
        </p:txBody>
      </p:sp>
      <p:sp>
        <p:nvSpPr>
          <p:cNvPr id="8" name="Text Placeholder 7"/>
          <p:cNvSpPr>
            <a:spLocks noGrp="1"/>
          </p:cNvSpPr>
          <p:nvPr>
            <p:ph type="body" sz="quarter" idx="12" hasCustomPrompt="1"/>
          </p:nvPr>
        </p:nvSpPr>
        <p:spPr>
          <a:xfrm>
            <a:off x="1" y="4809024"/>
            <a:ext cx="12200467" cy="1000125"/>
          </a:xfrm>
          <a:prstGeom prst="rect">
            <a:avLst/>
          </a:prstGeom>
        </p:spPr>
        <p:txBody>
          <a:bodyPr anchor="ctr"/>
          <a:lstStyle>
            <a:lvl1pPr marL="0" indent="0" algn="ctr">
              <a:buNone/>
              <a:defRPr sz="1400" spc="600" baseline="0">
                <a:solidFill>
                  <a:schemeClr val="bg1"/>
                </a:solidFill>
                <a:latin typeface="Arial" panose="020B0604020202020204" pitchFamily="34" charset="0"/>
                <a:cs typeface="Arial" panose="020B0604020202020204" pitchFamily="34" charset="0"/>
              </a:defRPr>
            </a:lvl1pPr>
          </a:lstStyle>
          <a:p>
            <a:pPr lvl="0"/>
            <a:r>
              <a:rPr lang="en-US" dirty="0"/>
              <a:t>Presenter Name</a:t>
            </a:r>
          </a:p>
          <a:p>
            <a:pPr lvl="0"/>
            <a:r>
              <a:rPr lang="en-US" dirty="0"/>
              <a:t>Date</a:t>
            </a:r>
          </a:p>
          <a:p>
            <a:pPr lvl="0"/>
            <a:r>
              <a:rPr lang="en-US" dirty="0"/>
              <a:t>Location</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99013" y="476094"/>
            <a:ext cx="5628091" cy="1055267"/>
          </a:xfrm>
          <a:prstGeom prst="rect">
            <a:avLst/>
          </a:prstGeom>
        </p:spPr>
      </p:pic>
    </p:spTree>
    <p:extLst>
      <p:ext uri="{BB962C8B-B14F-4D97-AF65-F5344CB8AC3E}">
        <p14:creationId xmlns:p14="http://schemas.microsoft.com/office/powerpoint/2010/main" val="338568951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3" name="Text Placeholder 2"/>
          <p:cNvSpPr>
            <a:spLocks noGrp="1"/>
          </p:cNvSpPr>
          <p:nvPr>
            <p:ph type="body" sz="quarter" idx="10" hasCustomPrompt="1"/>
          </p:nvPr>
        </p:nvSpPr>
        <p:spPr>
          <a:xfrm>
            <a:off x="1075269" y="2646365"/>
            <a:ext cx="10140951" cy="1709737"/>
          </a:xfrm>
          <a:prstGeom prst="rect">
            <a:avLst/>
          </a:prstGeom>
        </p:spPr>
        <p:txBody>
          <a:bodyPr/>
          <a:lstStyle>
            <a:lvl1pPr marL="0" indent="0" algn="ctr">
              <a:buNone/>
              <a:defRPr sz="4400">
                <a:solidFill>
                  <a:schemeClr val="bg1"/>
                </a:solidFill>
                <a:latin typeface="Arial" panose="020B0604020202020204" pitchFamily="34" charset="0"/>
                <a:cs typeface="Arial" panose="020B0604020202020204" pitchFamily="34" charset="0"/>
              </a:defRPr>
            </a:lvl1pPr>
          </a:lstStyle>
          <a:p>
            <a:pPr lvl="0"/>
            <a:r>
              <a:rPr lang="en-US" dirty="0"/>
              <a:t>Transition Slide</a:t>
            </a:r>
          </a:p>
        </p:txBody>
      </p:sp>
    </p:spTree>
    <p:extLst>
      <p:ext uri="{BB962C8B-B14F-4D97-AF65-F5344CB8AC3E}">
        <p14:creationId xmlns:p14="http://schemas.microsoft.com/office/powerpoint/2010/main" val="2227937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Alternative Format for Callouts">
    <p:spTree>
      <p:nvGrpSpPr>
        <p:cNvPr id="1" name=""/>
        <p:cNvGrpSpPr/>
        <p:nvPr/>
      </p:nvGrpSpPr>
      <p:grpSpPr>
        <a:xfrm>
          <a:off x="0" y="0"/>
          <a:ext cx="0" cy="0"/>
          <a:chOff x="0" y="0"/>
          <a:chExt cx="0" cy="0"/>
        </a:xfrm>
      </p:grpSpPr>
      <p:sp>
        <p:nvSpPr>
          <p:cNvPr id="4" name="Rectangle 3"/>
          <p:cNvSpPr/>
          <p:nvPr userDrawn="1"/>
        </p:nvSpPr>
        <p:spPr>
          <a:xfrm>
            <a:off x="0" y="1"/>
            <a:ext cx="12192000" cy="6088828"/>
          </a:xfrm>
          <a:prstGeom prst="rect">
            <a:avLst/>
          </a:prstGeom>
          <a:solidFill>
            <a:srgbClr val="5CACA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3" name="Text Placeholder 2"/>
          <p:cNvSpPr>
            <a:spLocks noGrp="1"/>
          </p:cNvSpPr>
          <p:nvPr>
            <p:ph type="body" sz="quarter" idx="10" hasCustomPrompt="1"/>
          </p:nvPr>
        </p:nvSpPr>
        <p:spPr>
          <a:xfrm>
            <a:off x="1240717" y="1786284"/>
            <a:ext cx="9710569" cy="1646237"/>
          </a:xfrm>
          <a:prstGeom prst="rect">
            <a:avLst/>
          </a:prstGeom>
        </p:spPr>
        <p:txBody>
          <a:bodyPr/>
          <a:lstStyle>
            <a:lvl1pPr marL="0" indent="0" algn="ctr">
              <a:buNone/>
              <a:defRPr sz="4000" baseline="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lternative Format could be used for a Quote or a Callout”</a:t>
            </a:r>
          </a:p>
        </p:txBody>
      </p:sp>
      <p:sp>
        <p:nvSpPr>
          <p:cNvPr id="11" name="Text Placeholder 10"/>
          <p:cNvSpPr>
            <a:spLocks noGrp="1"/>
          </p:cNvSpPr>
          <p:nvPr>
            <p:ph type="body" sz="quarter" idx="11" hasCustomPrompt="1"/>
          </p:nvPr>
        </p:nvSpPr>
        <p:spPr>
          <a:xfrm>
            <a:off x="3449296" y="3984388"/>
            <a:ext cx="5293409" cy="517525"/>
          </a:xfrm>
          <a:prstGeom prst="rect">
            <a:avLst/>
          </a:prstGeom>
        </p:spPr>
        <p:txBody>
          <a:bodyPr/>
          <a:lstStyle>
            <a:lvl1pPr marL="0" indent="0" algn="ctr">
              <a:buNone/>
              <a:defRPr sz="1800" spc="600">
                <a:solidFill>
                  <a:srgbClr val="003DA6"/>
                </a:solidFill>
                <a:latin typeface="Arial" panose="020B0604020202020204" pitchFamily="34" charset="0"/>
                <a:cs typeface="Arial" panose="020B0604020202020204" pitchFamily="34" charset="0"/>
              </a:defRPr>
            </a:lvl1pPr>
          </a:lstStyle>
          <a:p>
            <a:pPr lvl="0"/>
            <a:r>
              <a:rPr lang="en-US" dirty="0"/>
              <a:t>Anonymous</a:t>
            </a:r>
          </a:p>
        </p:txBody>
      </p:sp>
    </p:spTree>
    <p:extLst>
      <p:ext uri="{BB962C8B-B14F-4D97-AF65-F5344CB8AC3E}">
        <p14:creationId xmlns:p14="http://schemas.microsoft.com/office/powerpoint/2010/main" val="3065078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ig Q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1512" y="-544287"/>
            <a:ext cx="9698920" cy="6959016"/>
          </a:xfrm>
          <a:prstGeom prst="rect">
            <a:avLst/>
          </a:prstGeom>
        </p:spPr>
      </p:pic>
    </p:spTree>
    <p:extLst>
      <p:ext uri="{BB962C8B-B14F-4D97-AF65-F5344CB8AC3E}">
        <p14:creationId xmlns:p14="http://schemas.microsoft.com/office/powerpoint/2010/main" val="190141931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9" name="TextBox 8"/>
          <p:cNvSpPr txBox="1"/>
          <p:nvPr userDrawn="1"/>
        </p:nvSpPr>
        <p:spPr>
          <a:xfrm rot="10800000" flipV="1">
            <a:off x="0" y="6368438"/>
            <a:ext cx="12192000" cy="369332"/>
          </a:xfrm>
          <a:prstGeom prst="rect">
            <a:avLst/>
          </a:prstGeom>
          <a:noFill/>
        </p:spPr>
        <p:txBody>
          <a:bodyPr wrap="square" rtlCol="0">
            <a:spAutoFit/>
          </a:bodyPr>
          <a:lstStyle/>
          <a:p>
            <a:pPr algn="ctr"/>
            <a:r>
              <a:rPr lang="en-US" sz="1800" b="1" spc="300" baseline="30000" dirty="0">
                <a:solidFill>
                  <a:srgbClr val="96C32D"/>
                </a:solidFill>
                <a:latin typeface="Arial Black"/>
                <a:cs typeface="Arial Black"/>
              </a:rPr>
              <a:t>National Institute for Children’s Health</a:t>
            </a:r>
            <a:r>
              <a:rPr lang="en-US" sz="1800" b="1" spc="300" dirty="0">
                <a:solidFill>
                  <a:srgbClr val="96C32D"/>
                </a:solidFill>
                <a:latin typeface="Arial Black"/>
                <a:cs typeface="Arial Black"/>
              </a:rPr>
              <a:t> </a:t>
            </a:r>
            <a:r>
              <a:rPr lang="en-US" sz="1800" b="1" spc="300" baseline="30000" dirty="0">
                <a:solidFill>
                  <a:srgbClr val="96C32D"/>
                </a:solidFill>
                <a:latin typeface="Arial Black"/>
                <a:cs typeface="Arial Black"/>
              </a:rPr>
              <a:t>Quality </a:t>
            </a:r>
          </a:p>
        </p:txBody>
      </p:sp>
      <p:sp>
        <p:nvSpPr>
          <p:cNvPr id="3" name="Text Placeholder 2"/>
          <p:cNvSpPr>
            <a:spLocks noGrp="1"/>
          </p:cNvSpPr>
          <p:nvPr>
            <p:ph type="body" sz="quarter" idx="10" hasCustomPrompt="1"/>
          </p:nvPr>
        </p:nvSpPr>
        <p:spPr>
          <a:xfrm>
            <a:off x="9032" y="2314000"/>
            <a:ext cx="12192000" cy="1182217"/>
          </a:xfrm>
          <a:prstGeom prst="rect">
            <a:avLst/>
          </a:prstGeom>
        </p:spPr>
        <p:txBody>
          <a:bodyPr anchor="ctr"/>
          <a:lstStyle>
            <a:lvl1pPr marL="0" indent="0" algn="ctr">
              <a:buNone/>
              <a:defRPr sz="4800" baseline="0">
                <a:solidFill>
                  <a:schemeClr val="bg1"/>
                </a:solidFill>
                <a:latin typeface="Arial" panose="020B0604020202020204" pitchFamily="34" charset="0"/>
                <a:cs typeface="Arial" panose="020B0604020202020204" pitchFamily="34" charset="0"/>
              </a:defRPr>
            </a:lvl1pPr>
          </a:lstStyle>
          <a:p>
            <a:pPr lvl="0"/>
            <a:r>
              <a:rPr lang="en-US" dirty="0"/>
              <a:t>Presentation Title</a:t>
            </a:r>
          </a:p>
        </p:txBody>
      </p:sp>
      <p:sp>
        <p:nvSpPr>
          <p:cNvPr id="6" name="Text Placeholder 5"/>
          <p:cNvSpPr>
            <a:spLocks noGrp="1"/>
          </p:cNvSpPr>
          <p:nvPr>
            <p:ph type="body" sz="quarter" idx="11" hasCustomPrompt="1"/>
          </p:nvPr>
        </p:nvSpPr>
        <p:spPr>
          <a:xfrm>
            <a:off x="0" y="3496216"/>
            <a:ext cx="12200467" cy="782637"/>
          </a:xfrm>
          <a:prstGeom prst="rect">
            <a:avLst/>
          </a:prstGeom>
        </p:spPr>
        <p:txBody>
          <a:bodyPr anchor="ctr"/>
          <a:lstStyle>
            <a:lvl1pPr marL="0" indent="0" algn="ctr">
              <a:buNone/>
              <a:defRPr sz="2400" baseline="0">
                <a:solidFill>
                  <a:schemeClr val="bg1"/>
                </a:solidFill>
                <a:latin typeface="Arial" panose="020B0604020202020204" pitchFamily="34" charset="0"/>
                <a:cs typeface="Arial" panose="020B0604020202020204" pitchFamily="34" charset="0"/>
              </a:defRPr>
            </a:lvl1pPr>
          </a:lstStyle>
          <a:p>
            <a:pPr lvl="0"/>
            <a:r>
              <a:rPr lang="en-US" dirty="0"/>
              <a:t>Subtitle, if needed</a:t>
            </a:r>
          </a:p>
        </p:txBody>
      </p:sp>
      <p:sp>
        <p:nvSpPr>
          <p:cNvPr id="8" name="Text Placeholder 7"/>
          <p:cNvSpPr>
            <a:spLocks noGrp="1"/>
          </p:cNvSpPr>
          <p:nvPr>
            <p:ph type="body" sz="quarter" idx="12" hasCustomPrompt="1"/>
          </p:nvPr>
        </p:nvSpPr>
        <p:spPr>
          <a:xfrm>
            <a:off x="0" y="4809023"/>
            <a:ext cx="12200467" cy="1000125"/>
          </a:xfrm>
          <a:prstGeom prst="rect">
            <a:avLst/>
          </a:prstGeom>
        </p:spPr>
        <p:txBody>
          <a:bodyPr anchor="ctr"/>
          <a:lstStyle>
            <a:lvl1pPr marL="0" indent="0" algn="ctr">
              <a:buNone/>
              <a:defRPr sz="1400" spc="600" baseline="0">
                <a:solidFill>
                  <a:schemeClr val="bg1"/>
                </a:solidFill>
                <a:latin typeface="Arial" panose="020B0604020202020204" pitchFamily="34" charset="0"/>
                <a:cs typeface="Arial" panose="020B0604020202020204" pitchFamily="34" charset="0"/>
              </a:defRPr>
            </a:lvl1pPr>
          </a:lstStyle>
          <a:p>
            <a:pPr lvl="0"/>
            <a:r>
              <a:rPr lang="en-US" dirty="0"/>
              <a:t>Presenter Name</a:t>
            </a:r>
          </a:p>
          <a:p>
            <a:pPr lvl="0"/>
            <a:r>
              <a:rPr lang="en-US" dirty="0"/>
              <a:t>Date</a:t>
            </a:r>
          </a:p>
          <a:p>
            <a:pPr lvl="0"/>
            <a:r>
              <a:rPr lang="en-US" dirty="0"/>
              <a:t>Location</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99012" y="476094"/>
            <a:ext cx="5628091" cy="1055267"/>
          </a:xfrm>
          <a:prstGeom prst="rect">
            <a:avLst/>
          </a:prstGeom>
        </p:spPr>
      </p:pic>
    </p:spTree>
    <p:extLst>
      <p:ext uri="{BB962C8B-B14F-4D97-AF65-F5344CB8AC3E}">
        <p14:creationId xmlns:p14="http://schemas.microsoft.com/office/powerpoint/2010/main" val="67729062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918" y="273220"/>
            <a:ext cx="10969487" cy="1114517"/>
          </a:xfrm>
          <a:prstGeom prst="rect">
            <a:avLst/>
          </a:prstGeom>
        </p:spPr>
        <p:txBody>
          <a:bodyPr/>
          <a:lstStyle>
            <a:lvl1pPr>
              <a:defRPr sz="4000">
                <a:latin typeface="Arial" panose="020B0604020202020204" pitchFamily="34" charset="0"/>
                <a:cs typeface="Arial" panose="020B0604020202020204" pitchFamily="34" charset="0"/>
              </a:defRPr>
            </a:lvl1pPr>
          </a:lstStyle>
          <a:p>
            <a:r>
              <a:rPr lang="en-US" dirty="0"/>
              <a:t>Slide Title</a:t>
            </a:r>
          </a:p>
        </p:txBody>
      </p:sp>
      <p:sp>
        <p:nvSpPr>
          <p:cNvPr id="4" name="Text Placeholder 3"/>
          <p:cNvSpPr>
            <a:spLocks noGrp="1"/>
          </p:cNvSpPr>
          <p:nvPr>
            <p:ph type="body" sz="quarter" idx="10" hasCustomPrompt="1"/>
          </p:nvPr>
        </p:nvSpPr>
        <p:spPr>
          <a:xfrm>
            <a:off x="613835" y="1495313"/>
            <a:ext cx="10968567" cy="4744123"/>
          </a:xfrm>
          <a:prstGeom prst="rect">
            <a:avLst/>
          </a:prstGeom>
        </p:spPr>
        <p:txBody>
          <a:bodyPr/>
          <a:lstStyle>
            <a:lvl1pPr marL="290506" indent="-290506">
              <a:buClr>
                <a:srgbClr val="A4D55D"/>
              </a:buClr>
              <a:buSzPct val="120000"/>
              <a:buFont typeface="Arial" panose="020B0604020202020204" pitchFamily="34" charset="0"/>
              <a:buChar char="•"/>
              <a:defRPr>
                <a:latin typeface="Arial" panose="020B0604020202020204" pitchFamily="34" charset="0"/>
                <a:cs typeface="Arial" panose="020B0604020202020204" pitchFamily="34" charset="0"/>
              </a:defRPr>
            </a:lvl1pPr>
            <a:lvl2pPr marL="623872" indent="-280981">
              <a:buClr>
                <a:srgbClr val="003DA6"/>
              </a:buClr>
              <a:buSzPct val="80000"/>
              <a:buFont typeface="Wingdings" panose="05000000000000000000" pitchFamily="2" charset="2"/>
              <a:buChar char="Ø"/>
              <a:defRPr sz="2000">
                <a:latin typeface="Arial" panose="020B0604020202020204" pitchFamily="34" charset="0"/>
                <a:cs typeface="Arial" panose="020B0604020202020204" pitchFamily="34" charset="0"/>
              </a:defRPr>
            </a:lvl2pPr>
            <a:lvl3pPr marL="914377" indent="-236533">
              <a:buClr>
                <a:srgbClr val="F5BD47"/>
              </a:buClr>
              <a:buSzPct val="100000"/>
              <a:buFont typeface="Gill Sans MT" panose="020B0502020104020203" pitchFamily="34" charset="0"/>
              <a:buChar char="–"/>
              <a:defRPr sz="1600">
                <a:latin typeface="Arial" panose="020B0604020202020204" pitchFamily="34" charset="0"/>
                <a:cs typeface="Arial" panose="020B0604020202020204" pitchFamily="34" charset="0"/>
              </a:defRPr>
            </a:lvl3pPr>
          </a:lstStyle>
          <a:p>
            <a:pPr lvl="0"/>
            <a:r>
              <a:rPr lang="en-US" dirty="0"/>
              <a:t>First level text</a:t>
            </a:r>
          </a:p>
          <a:p>
            <a:pPr lvl="1"/>
            <a:r>
              <a:rPr lang="en-US" dirty="0"/>
              <a:t>Second level text</a:t>
            </a:r>
          </a:p>
          <a:p>
            <a:pPr lvl="2"/>
            <a:r>
              <a:rPr lang="en-US" dirty="0"/>
              <a:t>Third level text</a:t>
            </a:r>
          </a:p>
        </p:txBody>
      </p:sp>
    </p:spTree>
    <p:extLst>
      <p:ext uri="{BB962C8B-B14F-4D97-AF65-F5344CB8AC3E}">
        <p14:creationId xmlns:p14="http://schemas.microsoft.com/office/powerpoint/2010/main" val="4090016847"/>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3" name="Text Placeholder 2"/>
          <p:cNvSpPr>
            <a:spLocks noGrp="1"/>
          </p:cNvSpPr>
          <p:nvPr>
            <p:ph type="body" sz="quarter" idx="10" hasCustomPrompt="1"/>
          </p:nvPr>
        </p:nvSpPr>
        <p:spPr>
          <a:xfrm>
            <a:off x="1075269" y="2646365"/>
            <a:ext cx="10140951" cy="1709737"/>
          </a:xfrm>
          <a:prstGeom prst="rect">
            <a:avLst/>
          </a:prstGeom>
        </p:spPr>
        <p:txBody>
          <a:bodyPr/>
          <a:lstStyle>
            <a:lvl1pPr marL="0" indent="0" algn="ctr">
              <a:buNone/>
              <a:defRPr sz="4400">
                <a:solidFill>
                  <a:schemeClr val="bg1"/>
                </a:solidFill>
                <a:latin typeface="Arial" panose="020B0604020202020204" pitchFamily="34" charset="0"/>
                <a:cs typeface="Arial" panose="020B0604020202020204" pitchFamily="34" charset="0"/>
              </a:defRPr>
            </a:lvl1pPr>
          </a:lstStyle>
          <a:p>
            <a:pPr lvl="0"/>
            <a:r>
              <a:rPr lang="en-US" dirty="0"/>
              <a:t>Transition Slide</a:t>
            </a:r>
          </a:p>
        </p:txBody>
      </p:sp>
    </p:spTree>
    <p:extLst>
      <p:ext uri="{BB962C8B-B14F-4D97-AF65-F5344CB8AC3E}">
        <p14:creationId xmlns:p14="http://schemas.microsoft.com/office/powerpoint/2010/main" val="3448467720"/>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Alternative Format for Callouts">
    <p:spTree>
      <p:nvGrpSpPr>
        <p:cNvPr id="1" name=""/>
        <p:cNvGrpSpPr/>
        <p:nvPr/>
      </p:nvGrpSpPr>
      <p:grpSpPr>
        <a:xfrm>
          <a:off x="0" y="0"/>
          <a:ext cx="0" cy="0"/>
          <a:chOff x="0" y="0"/>
          <a:chExt cx="0" cy="0"/>
        </a:xfrm>
      </p:grpSpPr>
      <p:sp>
        <p:nvSpPr>
          <p:cNvPr id="4" name="Rectangle 3"/>
          <p:cNvSpPr/>
          <p:nvPr userDrawn="1"/>
        </p:nvSpPr>
        <p:spPr>
          <a:xfrm>
            <a:off x="0" y="1"/>
            <a:ext cx="12192000" cy="6088828"/>
          </a:xfrm>
          <a:prstGeom prst="rect">
            <a:avLst/>
          </a:prstGeom>
          <a:solidFill>
            <a:srgbClr val="5CACA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3" name="Text Placeholder 2"/>
          <p:cNvSpPr>
            <a:spLocks noGrp="1"/>
          </p:cNvSpPr>
          <p:nvPr>
            <p:ph type="body" sz="quarter" idx="10" hasCustomPrompt="1"/>
          </p:nvPr>
        </p:nvSpPr>
        <p:spPr>
          <a:xfrm>
            <a:off x="1240717" y="1786284"/>
            <a:ext cx="9710569" cy="1646237"/>
          </a:xfrm>
          <a:prstGeom prst="rect">
            <a:avLst/>
          </a:prstGeom>
        </p:spPr>
        <p:txBody>
          <a:bodyPr/>
          <a:lstStyle>
            <a:lvl1pPr marL="0" indent="0" algn="ctr">
              <a:buNone/>
              <a:defRPr sz="4000" baseline="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lternative Format could be used for a Quote or a Callout”</a:t>
            </a:r>
          </a:p>
        </p:txBody>
      </p:sp>
      <p:sp>
        <p:nvSpPr>
          <p:cNvPr id="11" name="Text Placeholder 10"/>
          <p:cNvSpPr>
            <a:spLocks noGrp="1"/>
          </p:cNvSpPr>
          <p:nvPr>
            <p:ph type="body" sz="quarter" idx="11" hasCustomPrompt="1"/>
          </p:nvPr>
        </p:nvSpPr>
        <p:spPr>
          <a:xfrm>
            <a:off x="3449296" y="3984387"/>
            <a:ext cx="5293409" cy="517525"/>
          </a:xfrm>
          <a:prstGeom prst="rect">
            <a:avLst/>
          </a:prstGeom>
        </p:spPr>
        <p:txBody>
          <a:bodyPr/>
          <a:lstStyle>
            <a:lvl1pPr marL="0" indent="0" algn="ctr">
              <a:buNone/>
              <a:defRPr sz="1800" spc="600">
                <a:solidFill>
                  <a:srgbClr val="003DA6"/>
                </a:solidFill>
                <a:latin typeface="Arial" panose="020B0604020202020204" pitchFamily="34" charset="0"/>
                <a:cs typeface="Arial" panose="020B0604020202020204" pitchFamily="34" charset="0"/>
              </a:defRPr>
            </a:lvl1pPr>
          </a:lstStyle>
          <a:p>
            <a:pPr lvl="0"/>
            <a:r>
              <a:rPr lang="en-US" dirty="0"/>
              <a:t>Anonymous</a:t>
            </a:r>
          </a:p>
        </p:txBody>
      </p:sp>
    </p:spTree>
    <p:extLst>
      <p:ext uri="{BB962C8B-B14F-4D97-AF65-F5344CB8AC3E}">
        <p14:creationId xmlns:p14="http://schemas.microsoft.com/office/powerpoint/2010/main" val="233336863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4876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ig Q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1512" y="-544287"/>
            <a:ext cx="9698920" cy="6959016"/>
          </a:xfrm>
          <a:prstGeom prst="rect">
            <a:avLst/>
          </a:prstGeom>
        </p:spPr>
      </p:pic>
    </p:spTree>
    <p:extLst>
      <p:ext uri="{BB962C8B-B14F-4D97-AF65-F5344CB8AC3E}">
        <p14:creationId xmlns:p14="http://schemas.microsoft.com/office/powerpoint/2010/main" val="167206637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3" y="3085765"/>
            <a:ext cx="11262867"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2" y="1020432"/>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3" y="2495446"/>
            <a:ext cx="10993547" cy="590321"/>
          </a:xfrm>
        </p:spPr>
        <p:txBody>
          <a:bodyPr anchor="t">
            <a:normAutofit/>
          </a:bodyPr>
          <a:lstStyle>
            <a:lvl1pPr marL="0" indent="0" algn="l">
              <a:buNone/>
              <a:defRPr sz="1600" cap="all">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8"/>
            <a:ext cx="2844800" cy="365125"/>
          </a:xfrm>
        </p:spPr>
        <p:txBody>
          <a:bodyPr/>
          <a:lstStyle>
            <a:lvl1pPr>
              <a:defRPr>
                <a:solidFill>
                  <a:schemeClr val="accent1">
                    <a:lumMod val="75000"/>
                    <a:lumOff val="25000"/>
                  </a:schemeClr>
                </a:solidFill>
              </a:defRPr>
            </a:lvl1pPr>
          </a:lstStyle>
          <a:p>
            <a:fld id="{3852909B-09F8-4BD5-AF55-A665955BBD60}" type="datetimeFigureOut">
              <a:rPr lang="en-US" smtClean="0"/>
              <a:t>4/17/2023</a:t>
            </a:fld>
            <a:endParaRPr lang="en-US"/>
          </a:p>
        </p:txBody>
      </p:sp>
      <p:sp>
        <p:nvSpPr>
          <p:cNvPr id="5" name="Footer Placeholder 4"/>
          <p:cNvSpPr>
            <a:spLocks noGrp="1"/>
          </p:cNvSpPr>
          <p:nvPr>
            <p:ph type="ftr" sz="quarter" idx="11"/>
          </p:nvPr>
        </p:nvSpPr>
        <p:spPr>
          <a:xfrm>
            <a:off x="581192" y="5951812"/>
            <a:ext cx="6917211"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8"/>
            <a:ext cx="1016440" cy="365125"/>
          </a:xfrm>
        </p:spPr>
        <p:txBody>
          <a:bodyPr/>
          <a:lstStyle>
            <a:lvl1pPr>
              <a:defRPr>
                <a:solidFill>
                  <a:schemeClr val="accent1">
                    <a:lumMod val="75000"/>
                    <a:lumOff val="25000"/>
                  </a:schemeClr>
                </a:solidFill>
              </a:defRPr>
            </a:lvl1pPr>
          </a:lstStyle>
          <a:p>
            <a:fld id="{6D22F896-40B5-4ADD-8801-0D06FADFA095}" type="slidenum">
              <a:rPr lang="en-US" smtClean="0"/>
              <a:t>‹#›</a:t>
            </a:fld>
            <a:endParaRPr lang="en-US"/>
          </a:p>
        </p:txBody>
      </p:sp>
    </p:spTree>
    <p:extLst>
      <p:ext uri="{BB962C8B-B14F-4D97-AF65-F5344CB8AC3E}">
        <p14:creationId xmlns:p14="http://schemas.microsoft.com/office/powerpoint/2010/main" val="265280813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5" y="614407"/>
            <a:ext cx="11309339" cy="1189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4" y="2180498"/>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1B6A65E-2E7B-45D1-A4B9-0680C068B11A}"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1" y="5956138"/>
            <a:ext cx="1052508" cy="365125"/>
          </a:xfrm>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12322204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8" y="5141975"/>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4" y="3043911"/>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4" y="4541418"/>
            <a:ext cx="11029615" cy="600556"/>
          </a:xfrm>
        </p:spPr>
        <p:txBody>
          <a:bodyPr anchor="t">
            <a:normAutofit/>
          </a:bodyPr>
          <a:lstStyle>
            <a:lvl1pPr marL="0" indent="0" algn="l">
              <a:buNone/>
              <a:defRPr sz="1800" cap="all">
                <a:solidFill>
                  <a:schemeClr val="accent2"/>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AC75D96E-8D7E-422E-A2A8-D28C1B4E7B86}" type="datetimeFigureOut">
              <a:rPr lang="en-US" smtClean="0"/>
              <a:t>4/17/2023</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6D22F896-40B5-4ADD-8801-0D06FADFA095}" type="slidenum">
              <a:rPr lang="en-US" smtClean="0"/>
              <a:t>‹#›</a:t>
            </a:fld>
            <a:endParaRPr lang="en-US"/>
          </a:p>
        </p:txBody>
      </p:sp>
    </p:spTree>
    <p:extLst>
      <p:ext uri="{BB962C8B-B14F-4D97-AF65-F5344CB8AC3E}">
        <p14:creationId xmlns:p14="http://schemas.microsoft.com/office/powerpoint/2010/main" val="13473059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9"/>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4" y="2228004"/>
            <a:ext cx="5422391"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4"/>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2AA3118-2D63-46DE-A5FD-62B7769B1823}" type="datetimeFigureOut">
              <a:rPr lang="en-US" smtClean="0"/>
              <a:t>4/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12273683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9"/>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20" y="2250892"/>
            <a:ext cx="5087075" cy="536005"/>
          </a:xfrm>
        </p:spPr>
        <p:txBody>
          <a:bodyPr anchor="b">
            <a:noAutofit/>
          </a:bodyPr>
          <a:lstStyle>
            <a:lvl1pPr marL="0" indent="0">
              <a:buNone/>
              <a:defRPr sz="2200" b="0">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5" y="2926054"/>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7" y="2250892"/>
            <a:ext cx="5087073" cy="553373"/>
          </a:xfrm>
        </p:spPr>
        <p:txBody>
          <a:bodyPr anchor="b">
            <a:noAutofit/>
          </a:bodyPr>
          <a:lstStyle>
            <a:lvl1pPr marL="0" indent="0">
              <a:buNone/>
              <a:defRPr sz="2200" b="0">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10" y="2926054"/>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3CA95C9-E353-4D5F-9DEE-820E2A1F9C49}" type="datetimeFigureOut">
              <a:rPr lang="en-US" smtClean="0"/>
              <a:t>4/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13088970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5" y="729659"/>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055670-3E6A-43D3-8215-C1C48E0C9650}" type="datetimeFigureOut">
              <a:rPr lang="en-US" smtClean="0"/>
              <a:t>4/1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10161015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E34154-F461-49B9-A649-5772D9210BB9}" type="datetimeFigureOut">
              <a:rPr lang="en-US" smtClean="0"/>
              <a:t>4/1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4417755"/>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4"/>
            <a:ext cx="11298200" cy="12747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5"/>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4" y="5262297"/>
            <a:ext cx="5869987" cy="689515"/>
          </a:xfrm>
        </p:spPr>
        <p:txBody>
          <a:bodyPr anchor="ctr">
            <a:normAutofit/>
          </a:bodyPr>
          <a:lstStyle>
            <a:lvl1pPr marL="0" indent="0" algn="r">
              <a:buNone/>
              <a:defRPr sz="1100">
                <a:solidFill>
                  <a:schemeClr val="bg1"/>
                </a:solidFill>
              </a:defRPr>
            </a:lvl1pPr>
            <a:lvl2pPr marL="457189" indent="0">
              <a:buNone/>
              <a:defRPr sz="11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44CA1323-B5E5-4968-904B-943CFA4A926F}" type="datetimeFigureOut">
              <a:rPr lang="en-US" smtClean="0"/>
              <a:t>4/17/2023</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6D22F896-40B5-4ADD-8801-0D06FADFA095}" type="slidenum">
              <a:rPr lang="en-US" smtClean="0"/>
              <a:t>‹#›</a:t>
            </a:fld>
            <a:endParaRPr lang="en-US"/>
          </a:p>
        </p:txBody>
      </p:sp>
    </p:spTree>
    <p:extLst>
      <p:ext uri="{BB962C8B-B14F-4D97-AF65-F5344CB8AC3E}">
        <p14:creationId xmlns:p14="http://schemas.microsoft.com/office/powerpoint/2010/main" val="67540332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9"/>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6"/>
            <a:ext cx="11290859" cy="3557252"/>
          </a:xfrm>
        </p:spPr>
        <p:txBody>
          <a:bodyPr anchor="t">
            <a:normAutofit/>
          </a:bodyPr>
          <a:lstStyle>
            <a:lvl1pPr marL="0" indent="0" algn="ctr">
              <a:buNone/>
              <a:defRPr sz="1600"/>
            </a:lvl1pPr>
            <a:lvl2pPr marL="457189" indent="0">
              <a:buNone/>
              <a:defRPr sz="1600"/>
            </a:lvl2pPr>
            <a:lvl3pPr marL="914377" indent="0">
              <a:buNone/>
              <a:defRPr sz="16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581193" y="5260129"/>
            <a:ext cx="11029617" cy="598671"/>
          </a:xfrm>
        </p:spPr>
        <p:txBody>
          <a:bodyPr>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E842EE3-1862-478D-ABFA-CE4447D28533}" type="datetimeFigureOut">
              <a:rPr lang="en-US" smtClean="0"/>
              <a:t>4/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12677114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5" y="614407"/>
            <a:ext cx="11309339" cy="1189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A8D82FE-38CB-4EF0-933A-9DB1E0083DE7}"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74176026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2" y="599726"/>
            <a:ext cx="2906817" cy="581695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2" y="675728"/>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5" y="675728"/>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4" y="5956138"/>
            <a:ext cx="1328141" cy="365125"/>
          </a:xfrm>
        </p:spPr>
        <p:txBody>
          <a:bodyPr/>
          <a:lstStyle>
            <a:lvl1pPr>
              <a:defRPr>
                <a:solidFill>
                  <a:schemeClr val="accent1">
                    <a:lumMod val="75000"/>
                    <a:lumOff val="25000"/>
                  </a:schemeClr>
                </a:solidFill>
              </a:defRPr>
            </a:lvl1pPr>
          </a:lstStyle>
          <a:p>
            <a:fld id="{C8C4D7EC-FC7F-48C5-AE2E-706146BC4953}" type="datetimeFigureOut">
              <a:rPr lang="en-US" smtClean="0"/>
              <a:t>4/17/2023</a:t>
            </a:fld>
            <a:endParaRPr lang="en-US"/>
          </a:p>
        </p:txBody>
      </p:sp>
      <p:sp>
        <p:nvSpPr>
          <p:cNvPr id="5" name="Footer Placeholder 4"/>
          <p:cNvSpPr>
            <a:spLocks noGrp="1"/>
          </p:cNvSpPr>
          <p:nvPr>
            <p:ph type="ftr" sz="quarter" idx="11"/>
          </p:nvPr>
        </p:nvSpPr>
        <p:spPr>
          <a:xfrm>
            <a:off x="774925" y="5951812"/>
            <a:ext cx="7896279" cy="365125"/>
          </a:xfrm>
        </p:spPr>
        <p:txBody>
          <a:bodyPr/>
          <a:lstStyle/>
          <a:p>
            <a:endParaRPr lang="en-US"/>
          </a:p>
        </p:txBody>
      </p:sp>
      <p:sp>
        <p:nvSpPr>
          <p:cNvPr id="6" name="Slide Number Placeholder 5"/>
          <p:cNvSpPr>
            <a:spLocks noGrp="1"/>
          </p:cNvSpPr>
          <p:nvPr>
            <p:ph type="sldNum" sz="quarter" idx="12"/>
          </p:nvPr>
        </p:nvSpPr>
        <p:spPr>
          <a:xfrm>
            <a:off x="10446616" y="5956138"/>
            <a:ext cx="1164195" cy="365125"/>
          </a:xfrm>
        </p:spPr>
        <p:txBody>
          <a:bodyPr/>
          <a:lstStyle>
            <a:lvl1pPr>
              <a:defRPr>
                <a:solidFill>
                  <a:schemeClr val="accent1">
                    <a:lumMod val="75000"/>
                    <a:lumOff val="25000"/>
                  </a:schemeClr>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8861668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918" y="273220"/>
            <a:ext cx="10969487" cy="1114517"/>
          </a:xfrm>
          <a:prstGeom prst="rect">
            <a:avLst/>
          </a:prstGeom>
        </p:spPr>
        <p:txBody>
          <a:bodyPr/>
          <a:lstStyle>
            <a:lvl1pPr>
              <a:defRPr sz="4000">
                <a:latin typeface="Arial" panose="020B0604020202020204" pitchFamily="34" charset="0"/>
                <a:cs typeface="Arial" panose="020B0604020202020204" pitchFamily="34" charset="0"/>
              </a:defRPr>
            </a:lvl1pPr>
          </a:lstStyle>
          <a:p>
            <a:r>
              <a:rPr lang="en-US"/>
              <a:t>Slide Title</a:t>
            </a:r>
          </a:p>
        </p:txBody>
      </p:sp>
      <p:sp>
        <p:nvSpPr>
          <p:cNvPr id="4" name="Text Placeholder 3"/>
          <p:cNvSpPr>
            <a:spLocks noGrp="1"/>
          </p:cNvSpPr>
          <p:nvPr>
            <p:ph type="body" sz="quarter" idx="10" hasCustomPrompt="1"/>
          </p:nvPr>
        </p:nvSpPr>
        <p:spPr>
          <a:xfrm>
            <a:off x="613835" y="1495313"/>
            <a:ext cx="10968567" cy="4744123"/>
          </a:xfrm>
          <a:prstGeom prst="rect">
            <a:avLst/>
          </a:prstGeom>
        </p:spPr>
        <p:txBody>
          <a:bodyPr/>
          <a:lstStyle>
            <a:lvl1pPr marL="290506" indent="-290506">
              <a:buClr>
                <a:srgbClr val="A4D55D"/>
              </a:buClr>
              <a:buSzPct val="120000"/>
              <a:buFont typeface="Arial" panose="020B0604020202020204" pitchFamily="34" charset="0"/>
              <a:buChar char="•"/>
              <a:defRPr>
                <a:latin typeface="Arial" panose="020B0604020202020204" pitchFamily="34" charset="0"/>
                <a:cs typeface="Arial" panose="020B0604020202020204" pitchFamily="34" charset="0"/>
              </a:defRPr>
            </a:lvl1pPr>
            <a:lvl2pPr marL="623872" indent="-280981">
              <a:buClr>
                <a:srgbClr val="003DA6"/>
              </a:buClr>
              <a:buSzPct val="80000"/>
              <a:buFont typeface="Wingdings" panose="05000000000000000000" pitchFamily="2" charset="2"/>
              <a:buChar char="Ø"/>
              <a:defRPr sz="2000">
                <a:latin typeface="Arial" panose="020B0604020202020204" pitchFamily="34" charset="0"/>
                <a:cs typeface="Arial" panose="020B0604020202020204" pitchFamily="34" charset="0"/>
              </a:defRPr>
            </a:lvl2pPr>
            <a:lvl3pPr marL="914377" indent="-236533">
              <a:buClr>
                <a:srgbClr val="F5BD47"/>
              </a:buClr>
              <a:buSzPct val="100000"/>
              <a:buFont typeface="Gill Sans MT" panose="020B0502020104020203" pitchFamily="34" charset="0"/>
              <a:buChar char="–"/>
              <a:defRPr sz="1600">
                <a:latin typeface="Arial" panose="020B0604020202020204" pitchFamily="34" charset="0"/>
                <a:cs typeface="Arial" panose="020B0604020202020204" pitchFamily="34" charset="0"/>
              </a:defRPr>
            </a:lvl3pPr>
          </a:lstStyle>
          <a:p>
            <a:pPr lvl="0"/>
            <a:r>
              <a:rPr lang="en-US"/>
              <a:t>First level text</a:t>
            </a:r>
          </a:p>
          <a:p>
            <a:pPr lvl="1"/>
            <a:r>
              <a:rPr lang="en-US"/>
              <a:t>Second level text</a:t>
            </a:r>
          </a:p>
          <a:p>
            <a:pPr lvl="2"/>
            <a:r>
              <a:rPr lang="en-US"/>
              <a:t>Third level text</a:t>
            </a:r>
          </a:p>
        </p:txBody>
      </p:sp>
    </p:spTree>
    <p:extLst>
      <p:ext uri="{BB962C8B-B14F-4D97-AF65-F5344CB8AC3E}">
        <p14:creationId xmlns:p14="http://schemas.microsoft.com/office/powerpoint/2010/main" val="118577083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9" name="TextBox 8"/>
          <p:cNvSpPr txBox="1"/>
          <p:nvPr userDrawn="1"/>
        </p:nvSpPr>
        <p:spPr>
          <a:xfrm rot="10800000" flipV="1">
            <a:off x="0" y="6368438"/>
            <a:ext cx="12192000" cy="369332"/>
          </a:xfrm>
          <a:prstGeom prst="rect">
            <a:avLst/>
          </a:prstGeom>
          <a:noFill/>
        </p:spPr>
        <p:txBody>
          <a:bodyPr wrap="square" rtlCol="0">
            <a:spAutoFit/>
          </a:bodyPr>
          <a:lstStyle/>
          <a:p>
            <a:pPr algn="ctr"/>
            <a:r>
              <a:rPr lang="en-US" sz="1800" b="1" spc="300" baseline="30000">
                <a:solidFill>
                  <a:srgbClr val="96C32D"/>
                </a:solidFill>
                <a:latin typeface="Arial Black"/>
                <a:cs typeface="Arial Black"/>
              </a:rPr>
              <a:t>National Institute for Children’s Health</a:t>
            </a:r>
            <a:r>
              <a:rPr lang="en-US" sz="1800" b="1" spc="300">
                <a:solidFill>
                  <a:srgbClr val="96C32D"/>
                </a:solidFill>
                <a:latin typeface="Arial Black"/>
                <a:cs typeface="Arial Black"/>
              </a:rPr>
              <a:t> </a:t>
            </a:r>
            <a:r>
              <a:rPr lang="en-US" sz="1800" b="1" spc="300" baseline="30000">
                <a:solidFill>
                  <a:srgbClr val="96C32D"/>
                </a:solidFill>
                <a:latin typeface="Arial Black"/>
                <a:cs typeface="Arial Black"/>
              </a:rPr>
              <a:t>Quality </a:t>
            </a:r>
          </a:p>
        </p:txBody>
      </p:sp>
      <p:sp>
        <p:nvSpPr>
          <p:cNvPr id="3" name="Text Placeholder 2"/>
          <p:cNvSpPr>
            <a:spLocks noGrp="1"/>
          </p:cNvSpPr>
          <p:nvPr>
            <p:ph type="body" sz="quarter" idx="10" hasCustomPrompt="1"/>
          </p:nvPr>
        </p:nvSpPr>
        <p:spPr>
          <a:xfrm>
            <a:off x="9032" y="2314001"/>
            <a:ext cx="12192000" cy="1182217"/>
          </a:xfrm>
          <a:prstGeom prst="rect">
            <a:avLst/>
          </a:prstGeom>
        </p:spPr>
        <p:txBody>
          <a:bodyPr anchor="ctr"/>
          <a:lstStyle>
            <a:lvl1pPr marL="0" indent="0" algn="ctr">
              <a:buNone/>
              <a:defRPr sz="4800" baseline="0">
                <a:solidFill>
                  <a:schemeClr val="bg1"/>
                </a:solidFill>
                <a:latin typeface="Arial" panose="020B0604020202020204" pitchFamily="34" charset="0"/>
                <a:cs typeface="Arial" panose="020B0604020202020204" pitchFamily="34" charset="0"/>
              </a:defRPr>
            </a:lvl1pPr>
          </a:lstStyle>
          <a:p>
            <a:pPr lvl="0"/>
            <a:r>
              <a:rPr lang="en-US"/>
              <a:t>Presentation Title</a:t>
            </a:r>
          </a:p>
        </p:txBody>
      </p:sp>
      <p:sp>
        <p:nvSpPr>
          <p:cNvPr id="6" name="Text Placeholder 5"/>
          <p:cNvSpPr>
            <a:spLocks noGrp="1"/>
          </p:cNvSpPr>
          <p:nvPr>
            <p:ph type="body" sz="quarter" idx="11" hasCustomPrompt="1"/>
          </p:nvPr>
        </p:nvSpPr>
        <p:spPr>
          <a:xfrm>
            <a:off x="1" y="3496216"/>
            <a:ext cx="12200467" cy="782637"/>
          </a:xfrm>
          <a:prstGeom prst="rect">
            <a:avLst/>
          </a:prstGeom>
        </p:spPr>
        <p:txBody>
          <a:bodyPr anchor="ctr"/>
          <a:lstStyle>
            <a:lvl1pPr marL="0" indent="0" algn="ctr">
              <a:buNone/>
              <a:defRPr sz="2400" baseline="0">
                <a:solidFill>
                  <a:schemeClr val="bg1"/>
                </a:solidFill>
                <a:latin typeface="Arial" panose="020B0604020202020204" pitchFamily="34" charset="0"/>
                <a:cs typeface="Arial" panose="020B0604020202020204" pitchFamily="34" charset="0"/>
              </a:defRPr>
            </a:lvl1pPr>
          </a:lstStyle>
          <a:p>
            <a:pPr lvl="0"/>
            <a:r>
              <a:rPr lang="en-US"/>
              <a:t>Subtitle, if needed</a:t>
            </a:r>
          </a:p>
        </p:txBody>
      </p:sp>
      <p:sp>
        <p:nvSpPr>
          <p:cNvPr id="8" name="Text Placeholder 7"/>
          <p:cNvSpPr>
            <a:spLocks noGrp="1"/>
          </p:cNvSpPr>
          <p:nvPr>
            <p:ph type="body" sz="quarter" idx="12" hasCustomPrompt="1"/>
          </p:nvPr>
        </p:nvSpPr>
        <p:spPr>
          <a:xfrm>
            <a:off x="1" y="4809024"/>
            <a:ext cx="12200467" cy="1000125"/>
          </a:xfrm>
          <a:prstGeom prst="rect">
            <a:avLst/>
          </a:prstGeom>
        </p:spPr>
        <p:txBody>
          <a:bodyPr anchor="ctr"/>
          <a:lstStyle>
            <a:lvl1pPr marL="0" indent="0" algn="ctr">
              <a:buNone/>
              <a:defRPr sz="1400" spc="600" baseline="0">
                <a:solidFill>
                  <a:schemeClr val="bg1"/>
                </a:solidFill>
                <a:latin typeface="Arial" panose="020B0604020202020204" pitchFamily="34" charset="0"/>
                <a:cs typeface="Arial" panose="020B0604020202020204" pitchFamily="34" charset="0"/>
              </a:defRPr>
            </a:lvl1pPr>
          </a:lstStyle>
          <a:p>
            <a:pPr lvl="0"/>
            <a:r>
              <a:rPr lang="en-US"/>
              <a:t>Presenter Name</a:t>
            </a:r>
          </a:p>
          <a:p>
            <a:pPr lvl="0"/>
            <a:r>
              <a:rPr lang="en-US"/>
              <a:t>Date</a:t>
            </a:r>
          </a:p>
          <a:p>
            <a:pPr lvl="0"/>
            <a:r>
              <a:rPr lang="en-US"/>
              <a:t>Location</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99013" y="476094"/>
            <a:ext cx="5628091" cy="1055267"/>
          </a:xfrm>
          <a:prstGeom prst="rect">
            <a:avLst/>
          </a:prstGeom>
        </p:spPr>
      </p:pic>
    </p:spTree>
    <p:extLst>
      <p:ext uri="{BB962C8B-B14F-4D97-AF65-F5344CB8AC3E}">
        <p14:creationId xmlns:p14="http://schemas.microsoft.com/office/powerpoint/2010/main" val="22813547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3" name="Text Placeholder 2"/>
          <p:cNvSpPr>
            <a:spLocks noGrp="1"/>
          </p:cNvSpPr>
          <p:nvPr>
            <p:ph type="body" sz="quarter" idx="10" hasCustomPrompt="1"/>
          </p:nvPr>
        </p:nvSpPr>
        <p:spPr>
          <a:xfrm>
            <a:off x="1075269" y="2646365"/>
            <a:ext cx="10140951" cy="1709737"/>
          </a:xfrm>
          <a:prstGeom prst="rect">
            <a:avLst/>
          </a:prstGeom>
        </p:spPr>
        <p:txBody>
          <a:bodyPr/>
          <a:lstStyle>
            <a:lvl1pPr marL="0" indent="0" algn="ctr">
              <a:buNone/>
              <a:defRPr sz="4400">
                <a:solidFill>
                  <a:schemeClr val="bg1"/>
                </a:solidFill>
                <a:latin typeface="Arial" panose="020B0604020202020204" pitchFamily="34" charset="0"/>
                <a:cs typeface="Arial" panose="020B0604020202020204" pitchFamily="34" charset="0"/>
              </a:defRPr>
            </a:lvl1pPr>
          </a:lstStyle>
          <a:p>
            <a:pPr lvl="0"/>
            <a:r>
              <a:rPr lang="en-US"/>
              <a:t>Transition Slide</a:t>
            </a:r>
          </a:p>
        </p:txBody>
      </p:sp>
    </p:spTree>
    <p:extLst>
      <p:ext uri="{BB962C8B-B14F-4D97-AF65-F5344CB8AC3E}">
        <p14:creationId xmlns:p14="http://schemas.microsoft.com/office/powerpoint/2010/main" val="6499636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Alternative Format for Callouts">
    <p:spTree>
      <p:nvGrpSpPr>
        <p:cNvPr id="1" name=""/>
        <p:cNvGrpSpPr/>
        <p:nvPr/>
      </p:nvGrpSpPr>
      <p:grpSpPr>
        <a:xfrm>
          <a:off x="0" y="0"/>
          <a:ext cx="0" cy="0"/>
          <a:chOff x="0" y="0"/>
          <a:chExt cx="0" cy="0"/>
        </a:xfrm>
      </p:grpSpPr>
      <p:sp>
        <p:nvSpPr>
          <p:cNvPr id="4" name="Rectangle 3"/>
          <p:cNvSpPr/>
          <p:nvPr userDrawn="1"/>
        </p:nvSpPr>
        <p:spPr>
          <a:xfrm>
            <a:off x="0" y="1"/>
            <a:ext cx="12192000" cy="6088828"/>
          </a:xfrm>
          <a:prstGeom prst="rect">
            <a:avLst/>
          </a:prstGeom>
          <a:solidFill>
            <a:srgbClr val="5CACA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3" name="Text Placeholder 2"/>
          <p:cNvSpPr>
            <a:spLocks noGrp="1"/>
          </p:cNvSpPr>
          <p:nvPr>
            <p:ph type="body" sz="quarter" idx="10" hasCustomPrompt="1"/>
          </p:nvPr>
        </p:nvSpPr>
        <p:spPr>
          <a:xfrm>
            <a:off x="1240717" y="1786284"/>
            <a:ext cx="9710569" cy="1646237"/>
          </a:xfrm>
          <a:prstGeom prst="rect">
            <a:avLst/>
          </a:prstGeom>
        </p:spPr>
        <p:txBody>
          <a:bodyPr/>
          <a:lstStyle>
            <a:lvl1pPr marL="0" indent="0" algn="ctr">
              <a:buNone/>
              <a:defRPr sz="4000" baseline="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lternative Format could be used for a Quote or a Callout”</a:t>
            </a:r>
          </a:p>
        </p:txBody>
      </p:sp>
      <p:sp>
        <p:nvSpPr>
          <p:cNvPr id="11" name="Text Placeholder 10"/>
          <p:cNvSpPr>
            <a:spLocks noGrp="1"/>
          </p:cNvSpPr>
          <p:nvPr>
            <p:ph type="body" sz="quarter" idx="11" hasCustomPrompt="1"/>
          </p:nvPr>
        </p:nvSpPr>
        <p:spPr>
          <a:xfrm>
            <a:off x="3449296" y="3984388"/>
            <a:ext cx="5293409" cy="517525"/>
          </a:xfrm>
          <a:prstGeom prst="rect">
            <a:avLst/>
          </a:prstGeom>
        </p:spPr>
        <p:txBody>
          <a:bodyPr/>
          <a:lstStyle>
            <a:lvl1pPr marL="0" indent="0" algn="ctr">
              <a:buNone/>
              <a:defRPr sz="1800" spc="600">
                <a:solidFill>
                  <a:srgbClr val="003DA6"/>
                </a:solidFill>
                <a:latin typeface="Arial" panose="020B0604020202020204" pitchFamily="34" charset="0"/>
                <a:cs typeface="Arial" panose="020B0604020202020204" pitchFamily="34" charset="0"/>
              </a:defRPr>
            </a:lvl1pPr>
          </a:lstStyle>
          <a:p>
            <a:pPr lvl="0"/>
            <a:r>
              <a:rPr lang="en-US"/>
              <a:t>Anonymous</a:t>
            </a:r>
          </a:p>
        </p:txBody>
      </p:sp>
    </p:spTree>
    <p:extLst>
      <p:ext uri="{BB962C8B-B14F-4D97-AF65-F5344CB8AC3E}">
        <p14:creationId xmlns:p14="http://schemas.microsoft.com/office/powerpoint/2010/main" val="220654176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78628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ig Q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1512" y="-544287"/>
            <a:ext cx="9698920" cy="6959016"/>
          </a:xfrm>
          <a:prstGeom prst="rect">
            <a:avLst/>
          </a:prstGeom>
        </p:spPr>
      </p:pic>
    </p:spTree>
    <p:extLst>
      <p:ext uri="{BB962C8B-B14F-4D97-AF65-F5344CB8AC3E}">
        <p14:creationId xmlns:p14="http://schemas.microsoft.com/office/powerpoint/2010/main" val="179243436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94"/>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35707679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8688700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94"/>
            <a:ext cx="10363200" cy="1500716"/>
          </a:xfrm>
        </p:spPr>
        <p:txBody>
          <a:bodyPr anchor="b"/>
          <a:lstStyle>
            <a:lvl1pPr marL="0" indent="0">
              <a:buNone/>
              <a:defRPr sz="2667">
                <a:solidFill>
                  <a:schemeClr val="tx1">
                    <a:tint val="75000"/>
                  </a:schemeClr>
                </a:solidFill>
              </a:defRPr>
            </a:lvl1pPr>
            <a:lvl2pPr marL="609539" indent="0">
              <a:buNone/>
              <a:defRPr sz="2400">
                <a:solidFill>
                  <a:schemeClr val="tx1">
                    <a:tint val="75000"/>
                  </a:schemeClr>
                </a:solidFill>
              </a:defRPr>
            </a:lvl2pPr>
            <a:lvl3pPr marL="1219078" indent="0">
              <a:buNone/>
              <a:defRPr sz="2133">
                <a:solidFill>
                  <a:schemeClr val="tx1">
                    <a:tint val="75000"/>
                  </a:schemeClr>
                </a:solidFill>
              </a:defRPr>
            </a:lvl3pPr>
            <a:lvl4pPr marL="1828618" indent="0">
              <a:buNone/>
              <a:defRPr sz="1867">
                <a:solidFill>
                  <a:schemeClr val="tx1">
                    <a:tint val="75000"/>
                  </a:schemeClr>
                </a:solidFill>
              </a:defRPr>
            </a:lvl4pPr>
            <a:lvl5pPr marL="2438158" indent="0">
              <a:buNone/>
              <a:defRPr sz="1867">
                <a:solidFill>
                  <a:schemeClr val="tx1">
                    <a:tint val="75000"/>
                  </a:schemeClr>
                </a:solidFill>
              </a:defRPr>
            </a:lvl5pPr>
            <a:lvl6pPr marL="3047696" indent="0">
              <a:buNone/>
              <a:defRPr sz="1867">
                <a:solidFill>
                  <a:schemeClr val="tx1">
                    <a:tint val="75000"/>
                  </a:schemeClr>
                </a:solidFill>
              </a:defRPr>
            </a:lvl6pPr>
            <a:lvl7pPr marL="3657234" indent="0">
              <a:buNone/>
              <a:defRPr sz="1867">
                <a:solidFill>
                  <a:schemeClr val="tx1">
                    <a:tint val="75000"/>
                  </a:schemeClr>
                </a:solidFill>
              </a:defRPr>
            </a:lvl7pPr>
            <a:lvl8pPr marL="4266773" indent="0">
              <a:buNone/>
              <a:defRPr sz="1867">
                <a:solidFill>
                  <a:schemeClr val="tx1">
                    <a:tint val="75000"/>
                  </a:schemeClr>
                </a:solidFill>
              </a:defRPr>
            </a:lvl8pPr>
            <a:lvl9pPr marL="4876313"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9219213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10"/>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10"/>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10813209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534584"/>
            <a:ext cx="5386917" cy="641349"/>
          </a:xfrm>
        </p:spPr>
        <p:txBody>
          <a:bodyPr anchor="b"/>
          <a:lstStyle>
            <a:lvl1pPr marL="0" indent="0">
              <a:buNone/>
              <a:defRPr sz="3200" b="1"/>
            </a:lvl1pPr>
            <a:lvl2pPr marL="609539" indent="0">
              <a:buNone/>
              <a:defRPr sz="2667" b="1"/>
            </a:lvl2pPr>
            <a:lvl3pPr marL="1219078" indent="0">
              <a:buNone/>
              <a:defRPr sz="2400" b="1"/>
            </a:lvl3pPr>
            <a:lvl4pPr marL="1828618" indent="0">
              <a:buNone/>
              <a:defRPr sz="2133" b="1"/>
            </a:lvl4pPr>
            <a:lvl5pPr marL="2438158" indent="0">
              <a:buNone/>
              <a:defRPr sz="2133" b="1"/>
            </a:lvl5pPr>
            <a:lvl6pPr marL="3047696" indent="0">
              <a:buNone/>
              <a:defRPr sz="2133" b="1"/>
            </a:lvl6pPr>
            <a:lvl7pPr marL="3657234" indent="0">
              <a:buNone/>
              <a:defRPr sz="2133" b="1"/>
            </a:lvl7pPr>
            <a:lvl8pPr marL="4266773" indent="0">
              <a:buNone/>
              <a:defRPr sz="2133" b="1"/>
            </a:lvl8pPr>
            <a:lvl9pPr marL="4876313"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4" y="2175943"/>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534584"/>
            <a:ext cx="5389033" cy="641349"/>
          </a:xfrm>
        </p:spPr>
        <p:txBody>
          <a:bodyPr anchor="b"/>
          <a:lstStyle>
            <a:lvl1pPr marL="0" indent="0">
              <a:buNone/>
              <a:defRPr sz="3200" b="1"/>
            </a:lvl1pPr>
            <a:lvl2pPr marL="609539" indent="0">
              <a:buNone/>
              <a:defRPr sz="2667" b="1"/>
            </a:lvl2pPr>
            <a:lvl3pPr marL="1219078" indent="0">
              <a:buNone/>
              <a:defRPr sz="2400" b="1"/>
            </a:lvl3pPr>
            <a:lvl4pPr marL="1828618" indent="0">
              <a:buNone/>
              <a:defRPr sz="2133" b="1"/>
            </a:lvl4pPr>
            <a:lvl5pPr marL="2438158" indent="0">
              <a:buNone/>
              <a:defRPr sz="2133" b="1"/>
            </a:lvl5pPr>
            <a:lvl6pPr marL="3047696" indent="0">
              <a:buNone/>
              <a:defRPr sz="2133" b="1"/>
            </a:lvl6pPr>
            <a:lvl7pPr marL="3657234" indent="0">
              <a:buNone/>
              <a:defRPr sz="2133" b="1"/>
            </a:lvl7pPr>
            <a:lvl8pPr marL="4266773" indent="0">
              <a:buNone/>
              <a:defRPr sz="2133" b="1"/>
            </a:lvl8pPr>
            <a:lvl9pPr marL="487631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4" y="2175943"/>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40043674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8518680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931686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61"/>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9" y="273061"/>
            <a:ext cx="6815668"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0"/>
            <a:ext cx="4011084" cy="4690533"/>
          </a:xfrm>
        </p:spPr>
        <p:txBody>
          <a:bodyPr/>
          <a:lstStyle>
            <a:lvl1pPr marL="0" indent="0">
              <a:buNone/>
              <a:defRPr sz="1867"/>
            </a:lvl1pPr>
            <a:lvl2pPr marL="609539" indent="0">
              <a:buNone/>
              <a:defRPr sz="1600"/>
            </a:lvl2pPr>
            <a:lvl3pPr marL="1219078" indent="0">
              <a:buNone/>
              <a:defRPr sz="1333"/>
            </a:lvl3pPr>
            <a:lvl4pPr marL="1828618" indent="0">
              <a:buNone/>
              <a:defRPr sz="1200"/>
            </a:lvl4pPr>
            <a:lvl5pPr marL="2438158" indent="0">
              <a:buNone/>
              <a:defRPr sz="1200"/>
            </a:lvl5pPr>
            <a:lvl6pPr marL="3047696" indent="0">
              <a:buNone/>
              <a:defRPr sz="1200"/>
            </a:lvl6pPr>
            <a:lvl7pPr marL="3657234" indent="0">
              <a:buNone/>
              <a:defRPr sz="1200"/>
            </a:lvl7pPr>
            <a:lvl8pPr marL="4266773" indent="0">
              <a:buNone/>
              <a:defRPr sz="1200"/>
            </a:lvl8pPr>
            <a:lvl9pPr marL="4876313"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8175893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39" indent="0">
              <a:buNone/>
              <a:defRPr sz="3733"/>
            </a:lvl2pPr>
            <a:lvl3pPr marL="1219078" indent="0">
              <a:buNone/>
              <a:defRPr sz="3200"/>
            </a:lvl3pPr>
            <a:lvl4pPr marL="1828618" indent="0">
              <a:buNone/>
              <a:defRPr sz="2667"/>
            </a:lvl4pPr>
            <a:lvl5pPr marL="2438158" indent="0">
              <a:buNone/>
              <a:defRPr sz="2667"/>
            </a:lvl5pPr>
            <a:lvl6pPr marL="3047696" indent="0">
              <a:buNone/>
              <a:defRPr sz="2667"/>
            </a:lvl6pPr>
            <a:lvl7pPr marL="3657234" indent="0">
              <a:buNone/>
              <a:defRPr sz="2667"/>
            </a:lvl7pPr>
            <a:lvl8pPr marL="4266773" indent="0">
              <a:buNone/>
              <a:defRPr sz="2667"/>
            </a:lvl8pPr>
            <a:lvl9pPr marL="4876313" indent="0">
              <a:buNone/>
              <a:defRPr sz="2667"/>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867"/>
            </a:lvl1pPr>
            <a:lvl2pPr marL="609539" indent="0">
              <a:buNone/>
              <a:defRPr sz="1600"/>
            </a:lvl2pPr>
            <a:lvl3pPr marL="1219078" indent="0">
              <a:buNone/>
              <a:defRPr sz="1333"/>
            </a:lvl3pPr>
            <a:lvl4pPr marL="1828618" indent="0">
              <a:buNone/>
              <a:defRPr sz="1200"/>
            </a:lvl4pPr>
            <a:lvl5pPr marL="2438158" indent="0">
              <a:buNone/>
              <a:defRPr sz="1200"/>
            </a:lvl5pPr>
            <a:lvl6pPr marL="3047696" indent="0">
              <a:buNone/>
              <a:defRPr sz="1200"/>
            </a:lvl6pPr>
            <a:lvl7pPr marL="3657234" indent="0">
              <a:buNone/>
              <a:defRPr sz="1200"/>
            </a:lvl7pPr>
            <a:lvl8pPr marL="4266773" indent="0">
              <a:buNone/>
              <a:defRPr sz="1200"/>
            </a:lvl8pPr>
            <a:lvl9pPr marL="4876313"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895879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79857603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8"/>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8"/>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9077160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4147938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8908146"/>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71054115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6373959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CONFIDENTIAL: NYSBEIP EXPERT PANEL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95400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CONFIDENTIAL: NYSBEIP EXPERT PANEL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45262470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CONFIDENTIAL: NYSBEIP EXPERT PANEL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7076755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53449784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2596999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518188098"/>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0928409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6"/>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2576B2D-D169-46FA-B648-666C613BA572}"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7551425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F2907F-D418-463E-BF10-B29A5629C6C3}"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70388951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6"/>
            <a:ext cx="10363200" cy="1500716"/>
          </a:xfrm>
        </p:spPr>
        <p:txBody>
          <a:bodyPr anchor="b"/>
          <a:lstStyle>
            <a:lvl1pPr marL="0" indent="0">
              <a:buNone/>
              <a:defRPr sz="2667">
                <a:solidFill>
                  <a:schemeClr val="tx1">
                    <a:tint val="75000"/>
                  </a:schemeClr>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3EEA823-F18A-4EA1-A16F-13AE828506B1}"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4954950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1AABFB7-3C33-467E-859D-EAC9A7C3BB7F}"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1029922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5"/>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4584"/>
            <a:ext cx="5389033" cy="641349"/>
          </a:xfrm>
        </p:spPr>
        <p:txBody>
          <a:bodyPr anchor="b"/>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5935"/>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F39DC00-C61D-4415-8C06-298F52D546C5}" type="datetime1">
              <a:rPr lang="en-US" smtClean="0"/>
              <a:t>4/17/20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7813181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C6D0774-9679-4615-8C45-0D898D4FC240}" type="datetime1">
              <a:rPr lang="en-US" smtClean="0"/>
              <a:t>4/17/20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34483714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D754C1-59A8-4AD3-A34E-EFDEB5BC5CFD}" type="datetime1">
              <a:rPr lang="en-US" smtClean="0"/>
              <a:t>4/17/20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07195701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3"/>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3"/>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0"/>
            <a:ext cx="4011084" cy="4690533"/>
          </a:xfr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6634B0F-650F-4E7C-93EA-63FE4206ADBB}"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0585962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831C457F-227C-42A3-9A11-6C800A63A45A}"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3881544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B374FB-0273-49B2-806C-A66573BBD1EB}"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9713476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8"/>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8"/>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4ED01B-4ABB-4898-96D1-2B1C61E69073}"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12607891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7"/>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2C48C62-C3E0-4779-A1BA-3753C7A78F55}"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6171301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4B5682-C18A-4AF5-AEA0-0B3AF5998B83}"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18086225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3133"/>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186"/>
            <a:ext cx="10363200" cy="1500716"/>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C634E2-6322-45F9-AB7F-A21DD9FD0250}"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07657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4"/>
            <a:ext cx="53848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4"/>
            <a:ext cx="53848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FC1BB8-79CB-4B31-B1C3-855E02C6D138}"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4717082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5"/>
            <a:ext cx="5386917" cy="641349"/>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5935"/>
            <a:ext cx="5386917" cy="39497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4585"/>
            <a:ext cx="5389033" cy="641349"/>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5935"/>
            <a:ext cx="5389033" cy="39497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8E36E99-A762-4AC1-9EC6-54E59BEE8347}" type="datetime1">
              <a:rPr lang="en-US" smtClean="0"/>
              <a:t>4/17/20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9125745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89533-57F2-4967-ACCC-C9755C981E92}" type="datetime1">
              <a:rPr lang="en-US" smtClean="0"/>
              <a:t>4/17/20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970748655"/>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A0657-451F-4A1D-AB0B-E276FA4613B6}" type="datetime1">
              <a:rPr lang="en-US" smtClean="0"/>
              <a:t>4/17/20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10245793"/>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4"/>
            <a:ext cx="4011084"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25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2"/>
            <a:ext cx="4011084" cy="469053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58C3069-D129-4249-8867-1C9B5141F586}"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43188693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AB2A74C-C2C7-4659-B356-7AC813AC23F7}" type="datetime1">
              <a:rPr lang="en-US" smtClean="0"/>
              <a:t>4/17/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49381051"/>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90B49B-2A9B-4B91-BF58-9ECCA201C17D}"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7351492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9"/>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9"/>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1F4994-C0BA-4140-8BBB-F7CD719B62CF}"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7605299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3475616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5703145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0421384"/>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92091180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450844599"/>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4166436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8563289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29797751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85442648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5100256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2273867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blank" preserve="1">
  <p:cSld name="Content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876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394D2-3012-4749-8DF6-B6E0C71D678A}" type="datetime1">
              <a:rPr lang="en-US" smtClean="0"/>
              <a:t>4/17/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92276442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ver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8134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24077232"/>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07006448"/>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30617863"/>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6992165"/>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130980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452716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801746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839311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9351794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3454066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6287347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2484562"/>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6466936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7418907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403279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9050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9838423"/>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29853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9223163"/>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42377807"/>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6859975"/>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8691804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1014274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0812565"/>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6695245"/>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78708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9757271"/>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860050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8141897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2925606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1346647"/>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967816"/>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56978230"/>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5465453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54744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566008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2000486"/>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17511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001549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8836364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8856584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54365856"/>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4073098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59680776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8253889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687087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026069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7387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592728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8084066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930925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4113842"/>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76346028"/>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4124300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557349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0334475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336149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90967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0539402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81029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5648944"/>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5232148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8589229"/>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678480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35021980"/>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16593569"/>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8708962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406333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21413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304758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851322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5697045"/>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49219896"/>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6332518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189090234"/>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2059721"/>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3643376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086534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3262851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435775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0770498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203400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7412258"/>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42209201"/>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7919989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2198015"/>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58534630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753487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6134237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06174702"/>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97021589"/>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563638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3365262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74871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2889088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2024980"/>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53298620"/>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7250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78315498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218219127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538587217"/>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6928743"/>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3322314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12297080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6740483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5103072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036987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283523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954419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08042405"/>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29642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3937231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1599708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559337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232635"/>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15920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095200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8628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072319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8821310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540193"/>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0971567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79236627"/>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9701957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7433039"/>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1682396"/>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279792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96495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963334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16951712"/>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46446931"/>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14581"/>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521688294"/>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96419393"/>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0387754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7545334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4246595"/>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49606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01314097"/>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13211403"/>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2778662"/>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0776772"/>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7519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8418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6553485"/>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9931968"/>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58981124"/>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42278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615938318"/>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18090659"/>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39524069"/>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4615795"/>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8361694"/>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5752073"/>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0413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0584278"/>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8629500"/>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2054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7346988"/>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36997099"/>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type="obj" preserve="1">
  <p:cSld name="2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30766018"/>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09020922"/>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DF1BFB96-B209-B245-8059-C9A876BB58EC}"/>
              </a:ext>
            </a:extLst>
          </p:cNvPr>
          <p:cNvSpPr>
            <a:spLocks noGrp="1"/>
          </p:cNvSpPr>
          <p:nvPr>
            <p:ph type="ftr" sz="quarter" idx="11"/>
          </p:nvPr>
        </p:nvSpPr>
        <p:spPr>
          <a:xfrm>
            <a:off x="3343903" y="6370016"/>
            <a:ext cx="4258300" cy="365125"/>
          </a:xfrm>
        </p:spPr>
        <p:txBody>
          <a:bodyPr/>
          <a:lstStyle>
            <a:lvl1pPr algn="l">
              <a:defRPr sz="1100"/>
            </a:lvl1pPr>
          </a:lstStyle>
          <a:p>
            <a:endParaRPr lang="en-US" dirty="0"/>
          </a:p>
        </p:txBody>
      </p:sp>
      <p:sp>
        <p:nvSpPr>
          <p:cNvPr id="6" name="Slide Number Placeholder 5">
            <a:extLst>
              <a:ext uri="{FF2B5EF4-FFF2-40B4-BE49-F238E27FC236}">
                <a16:creationId xmlns:a16="http://schemas.microsoft.com/office/drawing/2014/main" id="{3165731D-9F93-2B4F-BB58-9A36944068DC}"/>
              </a:ext>
            </a:extLst>
          </p:cNvPr>
          <p:cNvSpPr>
            <a:spLocks noGrp="1"/>
          </p:cNvSpPr>
          <p:nvPr>
            <p:ph type="sldNum" sz="quarter" idx="12"/>
          </p:nvPr>
        </p:nvSpPr>
        <p:spPr>
          <a:xfrm>
            <a:off x="8610611" y="6370016"/>
            <a:ext cx="3305463" cy="365125"/>
          </a:xfrm>
        </p:spPr>
        <p:txBody>
          <a:bodyPr/>
          <a:lstStyle>
            <a:lvl1pPr>
              <a:defRPr sz="1100">
                <a:solidFill>
                  <a:schemeClr val="accent1">
                    <a:lumMod val="20000"/>
                    <a:lumOff val="80000"/>
                  </a:schemeClr>
                </a:solidFill>
              </a:defRPr>
            </a:lvl1pPr>
          </a:lstStyle>
          <a:p>
            <a:fld id="{96ACBB43-5C7B-084B-877B-5EF90931306D}" type="slidenum">
              <a:rPr lang="en-US" smtClean="0"/>
              <a:pPr/>
              <a:t>‹#›</a:t>
            </a:fld>
            <a:endParaRPr lang="en-US" dirty="0"/>
          </a:p>
        </p:txBody>
      </p:sp>
      <p:pic>
        <p:nvPicPr>
          <p:cNvPr id="10" name="Picture 9">
            <a:extLst>
              <a:ext uri="{FF2B5EF4-FFF2-40B4-BE49-F238E27FC236}">
                <a16:creationId xmlns:a16="http://schemas.microsoft.com/office/drawing/2014/main" id="{8B1DDA7C-0811-7C49-A098-BFE5C5646BE7}"/>
              </a:ext>
            </a:extLst>
          </p:cNvPr>
          <p:cNvPicPr>
            <a:picLocks noChangeAspect="1"/>
          </p:cNvPicPr>
          <p:nvPr userDrawn="1"/>
        </p:nvPicPr>
        <p:blipFill>
          <a:blip r:embed="rId3"/>
          <a:stretch>
            <a:fillRect/>
          </a:stretch>
        </p:blipFill>
        <p:spPr>
          <a:xfrm flipV="1">
            <a:off x="1199649" y="5081783"/>
            <a:ext cx="803739" cy="113180"/>
          </a:xfrm>
          <a:prstGeom prst="rect">
            <a:avLst/>
          </a:prstGeom>
        </p:spPr>
      </p:pic>
      <p:sp>
        <p:nvSpPr>
          <p:cNvPr id="4" name="Title 3">
            <a:extLst>
              <a:ext uri="{FF2B5EF4-FFF2-40B4-BE49-F238E27FC236}">
                <a16:creationId xmlns:a16="http://schemas.microsoft.com/office/drawing/2014/main" id="{5DF96C8F-3EA2-F446-82B5-EB7F6B8E25BC}"/>
              </a:ext>
            </a:extLst>
          </p:cNvPr>
          <p:cNvSpPr>
            <a:spLocks noGrp="1"/>
          </p:cNvSpPr>
          <p:nvPr>
            <p:ph type="title"/>
          </p:nvPr>
        </p:nvSpPr>
        <p:spPr>
          <a:xfrm>
            <a:off x="1239865" y="1322310"/>
            <a:ext cx="7347488" cy="2850879"/>
          </a:xfrm>
        </p:spPr>
        <p:txBody>
          <a:bodyPr bIns="0" anchor="b" anchorCtr="0">
            <a:noAutofit/>
          </a:bodyPr>
          <a:lstStyle>
            <a:lvl1pPr fontAlgn="base">
              <a:lnSpc>
                <a:spcPct val="85000"/>
              </a:lnSpc>
              <a:defRPr sz="6600" b="1" i="0" spc="-150">
                <a:solidFill>
                  <a:schemeClr val="accent1">
                    <a:lumMod val="50000"/>
                  </a:schemeClr>
                </a:solidFill>
                <a:latin typeface="Spectral ExtraBold" panose="02020502060000000000" pitchFamily="18" charset="77"/>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E0F84FE7-0540-3B41-8011-E3E03A7CCBC0}"/>
              </a:ext>
            </a:extLst>
          </p:cNvPr>
          <p:cNvSpPr>
            <a:spLocks noGrp="1"/>
          </p:cNvSpPr>
          <p:nvPr>
            <p:ph type="body" sz="quarter" idx="14" hasCustomPrompt="1"/>
          </p:nvPr>
        </p:nvSpPr>
        <p:spPr>
          <a:xfrm>
            <a:off x="1239877" y="4339543"/>
            <a:ext cx="5626639" cy="457199"/>
          </a:xfrm>
        </p:spPr>
        <p:txBody>
          <a:bodyPr>
            <a:normAutofit/>
          </a:bodyPr>
          <a:lstStyle>
            <a:lvl1pPr marL="0" indent="0">
              <a:buNone/>
              <a:defRPr sz="1430" spc="300">
                <a:solidFill>
                  <a:schemeClr val="accent1"/>
                </a:solidFill>
              </a:defRPr>
            </a:lvl1pPr>
          </a:lstStyle>
          <a:p>
            <a:pPr lvl="0"/>
            <a:r>
              <a:rPr lang="en-US" dirty="0"/>
              <a:t>Click to add subtitle</a:t>
            </a:r>
          </a:p>
        </p:txBody>
      </p:sp>
      <p:pic>
        <p:nvPicPr>
          <p:cNvPr id="11" name="Picture 10">
            <a:extLst>
              <a:ext uri="{FF2B5EF4-FFF2-40B4-BE49-F238E27FC236}">
                <a16:creationId xmlns:a16="http://schemas.microsoft.com/office/drawing/2014/main" id="{0BA5CF0F-7E2D-4728-A880-39884FE2B2BE}"/>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89512105"/>
      </p:ext>
    </p:extLst>
  </p:cSld>
  <p:clrMapOvr>
    <a:masterClrMapping/>
  </p:clrMapOvr>
  <p:extLst>
    <p:ext uri="{DCECCB84-F9BA-43D5-87BE-67443E8EF086}">
      <p15:sldGuideLst xmlns:p15="http://schemas.microsoft.com/office/powerpoint/2012/main">
        <p15:guide id="1" orient="horz" pos="2640">
          <p15:clr>
            <a:srgbClr val="FBAE40"/>
          </p15:clr>
        </p15:guide>
        <p15:guide id="2" pos="768">
          <p15:clr>
            <a:srgbClr val="FBAE4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D4AA46-A5E1-D542-8104-A09FED725D6F}"/>
              </a:ext>
            </a:extLst>
          </p:cNvPr>
          <p:cNvSpPr>
            <a:spLocks noGrp="1"/>
          </p:cNvSpPr>
          <p:nvPr>
            <p:ph type="title"/>
          </p:nvPr>
        </p:nvSpPr>
        <p:spPr>
          <a:xfrm>
            <a:off x="1389321" y="681149"/>
            <a:ext cx="9854317" cy="390523"/>
          </a:xfrm>
        </p:spPr>
        <p:txBody>
          <a:bodyPr/>
          <a:lstStyle>
            <a:lvl1pPr>
              <a:defRPr sz="2000" b="1" spc="200" baseline="0">
                <a:solidFill>
                  <a:schemeClr val="bg1">
                    <a:lumMod val="65000"/>
                  </a:schemeClr>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0F82797D-D6FC-5140-AF46-C6F6A647688D}"/>
              </a:ext>
            </a:extLst>
          </p:cNvPr>
          <p:cNvSpPr>
            <a:spLocks noGrp="1"/>
          </p:cNvSpPr>
          <p:nvPr>
            <p:ph idx="1" hasCustomPrompt="1"/>
          </p:nvPr>
        </p:nvSpPr>
        <p:spPr>
          <a:xfrm>
            <a:off x="1389321" y="1477151"/>
            <a:ext cx="9854317" cy="4307435"/>
          </a:xfrm>
        </p:spPr>
        <p:txBody>
          <a:bodyPr lIns="0" tIns="0"/>
          <a:lstStyle>
            <a:lvl1pPr marL="571500" indent="-571500">
              <a:buSzPct val="140000"/>
              <a:buFont typeface="Courier New" panose="02070309020205020404" pitchFamily="49" charset="0"/>
              <a:buChar char="o"/>
              <a:defRPr sz="2800"/>
            </a:lvl1pPr>
            <a:lvl2pPr marL="974725" indent="-346075">
              <a:defRPr sz="2800"/>
            </a:lvl2pPr>
            <a:lvl3pPr marL="1371600" indent="-304800">
              <a:defRPr/>
            </a:lvl3pPr>
            <a:lvl4pPr marL="1768475" indent="-342900">
              <a:defRPr/>
            </a:lvl4pPr>
            <a:lvl5pPr marL="2117725" indent="-292100">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6549E54-A108-1C4D-9843-175CDBDF3FBB}"/>
              </a:ext>
            </a:extLst>
          </p:cNvPr>
          <p:cNvSpPr>
            <a:spLocks noGrp="1"/>
          </p:cNvSpPr>
          <p:nvPr>
            <p:ph type="ftr" sz="quarter" idx="11"/>
          </p:nvPr>
        </p:nvSpPr>
        <p:spPr>
          <a:xfrm>
            <a:off x="4261104" y="6356368"/>
            <a:ext cx="4648720" cy="365125"/>
          </a:xfrm>
        </p:spPr>
        <p:txBody>
          <a:bodyPr/>
          <a:lstStyle>
            <a:lvl1pPr algn="l">
              <a:defRPr/>
            </a:lvl1pPr>
          </a:lstStyle>
          <a:p>
            <a:endParaRPr lang="en-US" dirty="0"/>
          </a:p>
        </p:txBody>
      </p:sp>
      <p:sp>
        <p:nvSpPr>
          <p:cNvPr id="6" name="Slide Number Placeholder 5">
            <a:extLst>
              <a:ext uri="{FF2B5EF4-FFF2-40B4-BE49-F238E27FC236}">
                <a16:creationId xmlns:a16="http://schemas.microsoft.com/office/drawing/2014/main" id="{39E4767A-6F26-144D-9550-0D521B79F6E6}"/>
              </a:ext>
            </a:extLst>
          </p:cNvPr>
          <p:cNvSpPr>
            <a:spLocks noGrp="1"/>
          </p:cNvSpPr>
          <p:nvPr>
            <p:ph type="sldNum" sz="quarter" idx="12"/>
          </p:nvPr>
        </p:nvSpPr>
        <p:spPr>
          <a:xfrm>
            <a:off x="9105276" y="6356368"/>
            <a:ext cx="2743200" cy="365125"/>
          </a:xfrm>
        </p:spPr>
        <p:txBody>
          <a:bodyPr/>
          <a:lstStyle>
            <a:lvl1pPr>
              <a:defRPr>
                <a:solidFill>
                  <a:schemeClr val="accent1"/>
                </a:solidFill>
              </a:defRPr>
            </a:lvl1pPr>
          </a:lstStyle>
          <a:p>
            <a:fld id="{96ACBB43-5C7B-084B-877B-5EF90931306D}" type="slidenum">
              <a:rPr lang="en-US" smtClean="0"/>
              <a:pPr/>
              <a:t>‹#›</a:t>
            </a:fld>
            <a:endParaRPr lang="en-US" dirty="0"/>
          </a:p>
        </p:txBody>
      </p:sp>
      <p:pic>
        <p:nvPicPr>
          <p:cNvPr id="7" name="Picture 6">
            <a:extLst>
              <a:ext uri="{FF2B5EF4-FFF2-40B4-BE49-F238E27FC236}">
                <a16:creationId xmlns:a16="http://schemas.microsoft.com/office/drawing/2014/main" id="{82AAAF3C-23D9-B549-BAAB-9BBAF141E097}"/>
              </a:ext>
            </a:extLst>
          </p:cNvPr>
          <p:cNvPicPr>
            <a:picLocks noChangeAspect="1"/>
          </p:cNvPicPr>
          <p:nvPr userDrawn="1"/>
        </p:nvPicPr>
        <p:blipFill rotWithShape="1">
          <a:blip r:embed="rId3"/>
          <a:srcRect l="30385" t="-44474" r="17431" b="-56261"/>
          <a:stretch/>
        </p:blipFill>
        <p:spPr>
          <a:xfrm>
            <a:off x="0" y="1542079"/>
            <a:ext cx="1177871" cy="635432"/>
          </a:xfrm>
          <a:prstGeom prst="rect">
            <a:avLst/>
          </a:prstGeom>
        </p:spPr>
      </p:pic>
      <p:pic>
        <p:nvPicPr>
          <p:cNvPr id="10" name="Picture 9">
            <a:extLst>
              <a:ext uri="{FF2B5EF4-FFF2-40B4-BE49-F238E27FC236}">
                <a16:creationId xmlns:a16="http://schemas.microsoft.com/office/drawing/2014/main" id="{2B42511C-F166-40BE-A84C-4AA83A0B812A}"/>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151710844"/>
      </p:ext>
    </p:extLst>
  </p:cSld>
  <p:clrMapOvr>
    <a:masterClrMapping/>
  </p:clrMapOvr>
  <p:extLst>
    <p:ext uri="{DCECCB84-F9BA-43D5-87BE-67443E8EF086}">
      <p15:sldGuideLst xmlns:p15="http://schemas.microsoft.com/office/powerpoint/2012/main">
        <p15:guide id="1" orient="horz" pos="2160">
          <p15:clr>
            <a:srgbClr val="FBAE40"/>
          </p15:clr>
        </p15:guide>
        <p15:guide id="2" pos="864">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type="secHead" preserve="1">
  <p:cSld name="Section Title Slide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572464" y="2624131"/>
            <a:ext cx="7471347" cy="1763902"/>
          </a:xfrm>
        </p:spPr>
        <p:txBody>
          <a:bodyPr tIns="0" bIns="0" anchor="ctr" anchorCtr="0">
            <a:normAutofit/>
          </a:bodyPr>
          <a:lstStyle>
            <a:lvl1pPr>
              <a:lnSpc>
                <a:spcPct val="80000"/>
              </a:lnSpc>
              <a:defRPr lang="en-US" sz="5800" b="1" i="0" kern="0" spc="-150" baseline="0" dirty="0">
                <a:solidFill>
                  <a:schemeClr val="accent1">
                    <a:lumMod val="75000"/>
                  </a:schemeClr>
                </a:solidFill>
                <a:latin typeface="Spectral ExtraBold" panose="02020902060000000000" pitchFamily="18" charset="77"/>
                <a:ea typeface="SimSun" panose="02010600030101010101" pitchFamily="2" charset="-122"/>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574925" y="1798926"/>
            <a:ext cx="7471347" cy="812800"/>
          </a:xfrm>
        </p:spPr>
        <p:txBody>
          <a:bodyPr lIns="0" tIns="0" bIns="0" anchor="b">
            <a:noAutofit/>
          </a:bodyPr>
          <a:lstStyle>
            <a:lvl1pPr marL="0" indent="0">
              <a:buNone/>
              <a:defRPr sz="1600" b="0" i="0" spc="300">
                <a:solidFill>
                  <a:schemeClr val="accent2"/>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chemeClr val="accent6">
                    <a:lumMod val="75000"/>
                  </a:schemeClr>
                </a:solidFill>
              </a:defRPr>
            </a:lvl1pPr>
          </a:lstStyle>
          <a:p>
            <a:endParaRPr lang="en-US" dirty="0"/>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dirty="0"/>
          </a:p>
        </p:txBody>
      </p:sp>
      <p:pic>
        <p:nvPicPr>
          <p:cNvPr id="8" name="Picture 7">
            <a:extLst>
              <a:ext uri="{FF2B5EF4-FFF2-40B4-BE49-F238E27FC236}">
                <a16:creationId xmlns:a16="http://schemas.microsoft.com/office/drawing/2014/main" id="{CA42C5F1-2F01-BC45-B052-0E2591C3E04A}"/>
              </a:ext>
            </a:extLst>
          </p:cNvPr>
          <p:cNvPicPr>
            <a:picLocks noChangeAspect="1"/>
          </p:cNvPicPr>
          <p:nvPr userDrawn="1"/>
        </p:nvPicPr>
        <p:blipFill>
          <a:blip r:embed="rId3"/>
          <a:stretch>
            <a:fillRect/>
          </a:stretch>
        </p:blipFill>
        <p:spPr>
          <a:xfrm flipV="1">
            <a:off x="2584152" y="4684991"/>
            <a:ext cx="591257" cy="83259"/>
          </a:xfrm>
          <a:prstGeom prst="rect">
            <a:avLst/>
          </a:prstGeom>
        </p:spPr>
      </p:pic>
      <p:pic>
        <p:nvPicPr>
          <p:cNvPr id="11" name="Picture 10">
            <a:extLst>
              <a:ext uri="{FF2B5EF4-FFF2-40B4-BE49-F238E27FC236}">
                <a16:creationId xmlns:a16="http://schemas.microsoft.com/office/drawing/2014/main" id="{9237F76B-1F52-40AF-9DDD-885F465F4DA0}"/>
              </a:ext>
            </a:extLst>
          </p:cNvPr>
          <p:cNvPicPr>
            <a:picLocks noChangeAspect="1"/>
          </p:cNvPicPr>
          <p:nvPr userDrawn="1"/>
        </p:nvPicPr>
        <p:blipFill>
          <a:blip r:embed="rId4"/>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106938703"/>
      </p:ext>
    </p:extLst>
  </p:cSld>
  <p:clrMapOvr>
    <a:masterClrMapping/>
  </p:clrMapOvr>
  <p:extLst>
    <p:ext uri="{DCECCB84-F9BA-43D5-87BE-67443E8EF086}">
      <p15:sldGuideLst xmlns:p15="http://schemas.microsoft.com/office/powerpoint/2012/main">
        <p15:guide id="1" orient="horz" pos="2160">
          <p15:clr>
            <a:srgbClr val="FBAE40"/>
          </p15:clr>
        </p15:guide>
        <p15:guide id="2" pos="1608">
          <p15:clr>
            <a:srgbClr val="FBAE4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type="secHead" preserve="1">
  <p:cSld name="Section Title Slide (Dark)">
    <p:bg>
      <p:bgPr>
        <a:blipFill dpi="0" rotWithShape="1">
          <a:blip r:embed="rId2">
            <a:lum/>
          </a:blip>
          <a:srcRect/>
          <a:stretch>
            <a:fillRect t="-3000" r="-3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8AFDD-2CC6-8049-A544-11AF67749A03}"/>
              </a:ext>
            </a:extLst>
          </p:cNvPr>
          <p:cNvSpPr>
            <a:spLocks noGrp="1"/>
          </p:cNvSpPr>
          <p:nvPr>
            <p:ph type="title"/>
          </p:nvPr>
        </p:nvSpPr>
        <p:spPr>
          <a:xfrm>
            <a:off x="2628628" y="2701383"/>
            <a:ext cx="7489159" cy="1679599"/>
          </a:xfrm>
        </p:spPr>
        <p:txBody>
          <a:bodyPr tIns="0" bIns="0" anchor="ctr" anchorCtr="0">
            <a:normAutofit/>
          </a:bodyPr>
          <a:lstStyle>
            <a:lvl1pPr>
              <a:lnSpc>
                <a:spcPct val="80000"/>
              </a:lnSpc>
              <a:defRPr lang="en-US" sz="5500" b="1" i="0" kern="0" spc="-150" baseline="0" dirty="0">
                <a:solidFill>
                  <a:srgbClr val="FFECE6"/>
                </a:solidFill>
                <a:latin typeface="Spectral ExtraBold" panose="02020902060000000000" pitchFamily="18" charset="77"/>
                <a:ea typeface="SimSun" panose="02010600030101010101" pitchFamily="2" charset="-122"/>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D2C06BC0-24B0-BD4A-A607-3DA9A22B78EB}"/>
              </a:ext>
            </a:extLst>
          </p:cNvPr>
          <p:cNvSpPr>
            <a:spLocks noGrp="1"/>
          </p:cNvSpPr>
          <p:nvPr>
            <p:ph type="body" idx="1" hasCustomPrompt="1"/>
          </p:nvPr>
        </p:nvSpPr>
        <p:spPr>
          <a:xfrm>
            <a:off x="2628628" y="1798675"/>
            <a:ext cx="7489159" cy="812800"/>
          </a:xfrm>
        </p:spPr>
        <p:txBody>
          <a:bodyPr lIns="0" anchor="b">
            <a:normAutofit/>
          </a:bodyPr>
          <a:lstStyle>
            <a:lvl1pPr marL="0" indent="0">
              <a:buNone/>
              <a:defRPr sz="1600" b="0" i="0" spc="300">
                <a:solidFill>
                  <a:srgbClr val="FFECE6"/>
                </a:solidFill>
                <a:latin typeface="Metropolis Extra Light" pitchFamily="2" charset="77"/>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add subtitle</a:t>
            </a:r>
          </a:p>
        </p:txBody>
      </p:sp>
      <p:sp>
        <p:nvSpPr>
          <p:cNvPr id="5" name="Footer Placeholder 4">
            <a:extLst>
              <a:ext uri="{FF2B5EF4-FFF2-40B4-BE49-F238E27FC236}">
                <a16:creationId xmlns:a16="http://schemas.microsoft.com/office/drawing/2014/main" id="{BC4256CC-84D5-0646-BD44-02191960D134}"/>
              </a:ext>
            </a:extLst>
          </p:cNvPr>
          <p:cNvSpPr>
            <a:spLocks noGrp="1"/>
          </p:cNvSpPr>
          <p:nvPr>
            <p:ph type="ftr" sz="quarter" idx="11"/>
          </p:nvPr>
        </p:nvSpPr>
        <p:spPr>
          <a:xfrm>
            <a:off x="4760685" y="6356368"/>
            <a:ext cx="3392715" cy="365125"/>
          </a:xfrm>
        </p:spPr>
        <p:txBody>
          <a:bodyPr/>
          <a:lstStyle>
            <a:lvl1pPr>
              <a:defRPr>
                <a:solidFill>
                  <a:srgbClr val="FFECE6"/>
                </a:solidFill>
              </a:defRPr>
            </a:lvl1pPr>
          </a:lstStyle>
          <a:p>
            <a:endParaRPr lang="en-US" dirty="0"/>
          </a:p>
        </p:txBody>
      </p:sp>
      <p:sp>
        <p:nvSpPr>
          <p:cNvPr id="6" name="Slide Number Placeholder 5">
            <a:extLst>
              <a:ext uri="{FF2B5EF4-FFF2-40B4-BE49-F238E27FC236}">
                <a16:creationId xmlns:a16="http://schemas.microsoft.com/office/drawing/2014/main" id="{7FE73A40-A8F0-E143-80BC-A0AC4AAF29A1}"/>
              </a:ext>
            </a:extLst>
          </p:cNvPr>
          <p:cNvSpPr>
            <a:spLocks noGrp="1"/>
          </p:cNvSpPr>
          <p:nvPr>
            <p:ph type="sldNum" sz="quarter" idx="12"/>
          </p:nvPr>
        </p:nvSpPr>
        <p:spPr/>
        <p:txBody>
          <a:bodyPr/>
          <a:lstStyle>
            <a:lvl1pPr>
              <a:defRPr>
                <a:solidFill>
                  <a:srgbClr val="FFECE6"/>
                </a:solidFill>
              </a:defRPr>
            </a:lvl1pPr>
          </a:lstStyle>
          <a:p>
            <a:fld id="{96ACBB43-5C7B-084B-877B-5EF90931306D}" type="slidenum">
              <a:rPr lang="en-US" smtClean="0"/>
              <a:pPr/>
              <a:t>‹#›</a:t>
            </a:fld>
            <a:endParaRPr lang="en-US" dirty="0"/>
          </a:p>
        </p:txBody>
      </p:sp>
      <p:pic>
        <p:nvPicPr>
          <p:cNvPr id="12" name="Picture 11">
            <a:extLst>
              <a:ext uri="{FF2B5EF4-FFF2-40B4-BE49-F238E27FC236}">
                <a16:creationId xmlns:a16="http://schemas.microsoft.com/office/drawing/2014/main" id="{DF69981D-893B-9B47-A36C-4AEE6DF3CF5F}"/>
              </a:ext>
            </a:extLst>
          </p:cNvPr>
          <p:cNvPicPr>
            <a:picLocks noChangeAspect="1"/>
          </p:cNvPicPr>
          <p:nvPr userDrawn="1"/>
        </p:nvPicPr>
        <p:blipFill>
          <a:blip r:embed="rId3">
            <a:duotone>
              <a:schemeClr val="accent4">
                <a:shade val="45000"/>
                <a:satMod val="135000"/>
              </a:schemeClr>
              <a:prstClr val="white"/>
            </a:duotone>
            <a:lum bright="47000"/>
          </a:blip>
          <a:stretch>
            <a:fillRect/>
          </a:stretch>
        </p:blipFill>
        <p:spPr>
          <a:xfrm flipV="1">
            <a:off x="2628632" y="4688659"/>
            <a:ext cx="591257" cy="83259"/>
          </a:xfrm>
          <a:prstGeom prst="rect">
            <a:avLst/>
          </a:prstGeom>
        </p:spPr>
      </p:pic>
      <p:pic>
        <p:nvPicPr>
          <p:cNvPr id="9" name="Picture 8">
            <a:extLst>
              <a:ext uri="{FF2B5EF4-FFF2-40B4-BE49-F238E27FC236}">
                <a16:creationId xmlns:a16="http://schemas.microsoft.com/office/drawing/2014/main" id="{323B65CD-19D2-48DC-94CB-A629454124DE}"/>
              </a:ext>
            </a:extLst>
          </p:cNvPr>
          <p:cNvPicPr>
            <a:picLocks noChangeAspect="1"/>
          </p:cNvPicPr>
          <p:nvPr userDrawn="1"/>
        </p:nvPicPr>
        <p:blipFill>
          <a:blip r:embed="rId4">
            <a:lum bright="100000"/>
          </a:blip>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1817558049"/>
      </p:ext>
    </p:extLst>
  </p:cSld>
  <p:clrMapOvr>
    <a:masterClrMapping/>
  </p:clrMapOvr>
  <p:extLst>
    <p:ext uri="{DCECCB84-F9BA-43D5-87BE-67443E8EF086}">
      <p15:sldGuideLst xmlns:p15="http://schemas.microsoft.com/office/powerpoint/2012/main">
        <p15:guide id="1" orient="horz" pos="2160">
          <p15:clr>
            <a:srgbClr val="FBAE40"/>
          </p15:clr>
        </p15:guide>
        <p15:guide id="2" pos="1656">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Graphics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1F221-2BC3-E54F-B0FA-0E997C82FF72}"/>
              </a:ext>
            </a:extLst>
          </p:cNvPr>
          <p:cNvSpPr>
            <a:spLocks noGrp="1"/>
          </p:cNvSpPr>
          <p:nvPr>
            <p:ph type="title"/>
          </p:nvPr>
        </p:nvSpPr>
        <p:spPr>
          <a:xfrm>
            <a:off x="1517651" y="677144"/>
            <a:ext cx="9356368" cy="390523"/>
          </a:xfrm>
        </p:spPr>
        <p:txBody>
          <a:bodyPr/>
          <a:lstStyle>
            <a:lvl1pPr>
              <a:defRPr sz="2000">
                <a:solidFill>
                  <a:schemeClr val="bg1">
                    <a:lumMod val="65000"/>
                  </a:schemeClr>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E738DE30-E2CF-F94F-BA4F-A647229E915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DA18297-ED40-AE4D-B8E3-4B14EACD6F31}"/>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dirty="0"/>
          </a:p>
        </p:txBody>
      </p:sp>
      <p:sp>
        <p:nvSpPr>
          <p:cNvPr id="6" name="Content Placeholder 5">
            <a:extLst>
              <a:ext uri="{FF2B5EF4-FFF2-40B4-BE49-F238E27FC236}">
                <a16:creationId xmlns:a16="http://schemas.microsoft.com/office/drawing/2014/main" id="{654F4AF3-3E0A-D14B-AFA1-1B60797F5DAA}"/>
              </a:ext>
            </a:extLst>
          </p:cNvPr>
          <p:cNvSpPr>
            <a:spLocks noGrp="1"/>
          </p:cNvSpPr>
          <p:nvPr>
            <p:ph sz="quarter" idx="13" hasCustomPrompt="1"/>
          </p:nvPr>
        </p:nvSpPr>
        <p:spPr>
          <a:xfrm>
            <a:off x="1517651" y="1394850"/>
            <a:ext cx="10398412" cy="4734491"/>
          </a:xfrm>
        </p:spPr>
        <p:txBody>
          <a:bodyPr/>
          <a:lstStyle>
            <a:lvl1pPr marL="457200" indent="-457200">
              <a:buFont typeface="Arial" panose="020B0604020202020204" pitchFamily="34" charset="0"/>
              <a:buChar char="•"/>
              <a:defRPr/>
            </a:lvl1pPr>
            <a:lvl2pPr marL="854075" indent="-393700">
              <a:defRPr/>
            </a:lvl2pPr>
            <a:lvl3pPr marL="1203325" indent="-365125">
              <a:defRPr/>
            </a:lvl3pPr>
            <a:lvl4pPr marL="1539875" indent="-342900">
              <a:defRPr/>
            </a:lvl4pPr>
          </a:lstStyle>
          <a:p>
            <a:pPr lvl="0"/>
            <a:r>
              <a:rPr lang="en-US" dirty="0"/>
              <a:t>Click to add content</a:t>
            </a:r>
          </a:p>
          <a:p>
            <a:pPr lvl="1"/>
            <a:r>
              <a:rPr lang="en-US" dirty="0"/>
              <a:t>Level 2</a:t>
            </a:r>
          </a:p>
          <a:p>
            <a:pPr lvl="2"/>
            <a:r>
              <a:rPr lang="en-US" dirty="0"/>
              <a:t>Level 3</a:t>
            </a:r>
          </a:p>
          <a:p>
            <a:pPr lvl="3"/>
            <a:r>
              <a:rPr lang="en-US" dirty="0"/>
              <a:t>Level 4</a:t>
            </a:r>
          </a:p>
          <a:p>
            <a:pPr lvl="2"/>
            <a:endParaRPr lang="en-US" dirty="0"/>
          </a:p>
        </p:txBody>
      </p:sp>
      <p:pic>
        <p:nvPicPr>
          <p:cNvPr id="9" name="Picture 8">
            <a:extLst>
              <a:ext uri="{FF2B5EF4-FFF2-40B4-BE49-F238E27FC236}">
                <a16:creationId xmlns:a16="http://schemas.microsoft.com/office/drawing/2014/main" id="{481DECFA-CB67-4136-92B7-52DD0D6F4EAD}"/>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12408274"/>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picTx" preserve="1">
  <p:cSld name="Picture with Cap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F0DD66-77C0-7241-9B19-FF637C83DC16}"/>
              </a:ext>
            </a:extLst>
          </p:cNvPr>
          <p:cNvSpPr>
            <a:spLocks noGrp="1"/>
          </p:cNvSpPr>
          <p:nvPr>
            <p:ph type="body" sz="half" idx="2"/>
          </p:nvPr>
        </p:nvSpPr>
        <p:spPr>
          <a:xfrm>
            <a:off x="1578429" y="4221016"/>
            <a:ext cx="3494315" cy="1319814"/>
          </a:xfrm>
        </p:spPr>
        <p:txBody>
          <a:bodyPr lIns="0"/>
          <a:lstStyle>
            <a:lvl1pPr marL="0" indent="0">
              <a:buNone/>
              <a:defRPr sz="1600" b="0">
                <a:solidFill>
                  <a:schemeClr val="accent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a:extLst>
              <a:ext uri="{FF2B5EF4-FFF2-40B4-BE49-F238E27FC236}">
                <a16:creationId xmlns:a16="http://schemas.microsoft.com/office/drawing/2014/main" id="{DE7EDD8F-91EE-B741-8CC7-A1B75474A3C6}"/>
              </a:ext>
            </a:extLst>
          </p:cNvPr>
          <p:cNvSpPr>
            <a:spLocks noGrp="1"/>
          </p:cNvSpPr>
          <p:nvPr>
            <p:ph type="pic" idx="1"/>
          </p:nvPr>
        </p:nvSpPr>
        <p:spPr>
          <a:xfrm>
            <a:off x="5277531" y="675864"/>
            <a:ext cx="6927256" cy="5907131"/>
          </a:xfrm>
          <a:solidFill>
            <a:schemeClr val="accent1"/>
          </a:solidFill>
        </p:spPr>
        <p:txBody>
          <a:bodyPr/>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 name="Title 1">
            <a:extLst>
              <a:ext uri="{FF2B5EF4-FFF2-40B4-BE49-F238E27FC236}">
                <a16:creationId xmlns:a16="http://schemas.microsoft.com/office/drawing/2014/main" id="{29BA8FBA-0F69-7E4B-8131-B8C9E5AC4406}"/>
              </a:ext>
            </a:extLst>
          </p:cNvPr>
          <p:cNvSpPr>
            <a:spLocks noGrp="1"/>
          </p:cNvSpPr>
          <p:nvPr>
            <p:ph type="title"/>
          </p:nvPr>
        </p:nvSpPr>
        <p:spPr>
          <a:xfrm>
            <a:off x="839788" y="1436919"/>
            <a:ext cx="5060080" cy="2597299"/>
          </a:xfrm>
        </p:spPr>
        <p:txBody>
          <a:bodyPr anchor="b">
            <a:noAutofit/>
          </a:bodyPr>
          <a:lstStyle>
            <a:lvl1pPr>
              <a:defRPr sz="5000" b="1" i="0" spc="-150">
                <a:solidFill>
                  <a:schemeClr val="accent1">
                    <a:lumMod val="50000"/>
                  </a:schemeClr>
                </a:solidFill>
                <a:latin typeface="Spectral ExtraBold" panose="02020502060000000000" pitchFamily="18" charset="77"/>
              </a:defRPr>
            </a:lvl1pPr>
          </a:lstStyle>
          <a:p>
            <a:r>
              <a:rPr lang="en-US"/>
              <a:t>Click to edit Master title style</a:t>
            </a:r>
            <a:endParaRPr lang="en-US" dirty="0"/>
          </a:p>
        </p:txBody>
      </p:sp>
      <p:pic>
        <p:nvPicPr>
          <p:cNvPr id="7" name="Picture 6">
            <a:extLst>
              <a:ext uri="{FF2B5EF4-FFF2-40B4-BE49-F238E27FC236}">
                <a16:creationId xmlns:a16="http://schemas.microsoft.com/office/drawing/2014/main" id="{418FAF02-950B-4B1B-AC2A-4C83655E8D1B}"/>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22651160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type="twoTxTwoObj" preserve="1">
  <p:cSld name="Comparis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A0BC1-E26E-F348-8264-AE55E086748F}"/>
              </a:ext>
            </a:extLst>
          </p:cNvPr>
          <p:cNvSpPr>
            <a:spLocks noGrp="1"/>
          </p:cNvSpPr>
          <p:nvPr>
            <p:ph type="title"/>
          </p:nvPr>
        </p:nvSpPr>
        <p:spPr>
          <a:xfrm>
            <a:off x="1157467" y="600034"/>
            <a:ext cx="10163196" cy="275647"/>
          </a:xfrm>
        </p:spPr>
        <p:txBody>
          <a:bodyPr/>
          <a:lstStyle>
            <a:lvl1pPr>
              <a:defRPr sz="2000">
                <a:solidFill>
                  <a:schemeClr val="bg1">
                    <a:lumMod val="65000"/>
                  </a:schemeClr>
                </a:solidFill>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4C515E8F-7CC1-7A45-9C9D-F49BF2CAE0CF}"/>
              </a:ext>
            </a:extLst>
          </p:cNvPr>
          <p:cNvSpPr>
            <a:spLocks noGrp="1"/>
          </p:cNvSpPr>
          <p:nvPr>
            <p:ph type="body" idx="1"/>
          </p:nvPr>
        </p:nvSpPr>
        <p:spPr>
          <a:xfrm>
            <a:off x="1163880" y="1324554"/>
            <a:ext cx="5157787"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7B413C-B2A5-2B49-A4B8-E9FFD6BBEF55}"/>
              </a:ext>
            </a:extLst>
          </p:cNvPr>
          <p:cNvSpPr>
            <a:spLocks noGrp="1"/>
          </p:cNvSpPr>
          <p:nvPr>
            <p:ph sz="half" idx="2" hasCustomPrompt="1"/>
          </p:nvPr>
        </p:nvSpPr>
        <p:spPr>
          <a:xfrm>
            <a:off x="1184779" y="2200533"/>
            <a:ext cx="5136889" cy="3356642"/>
          </a:xfrm>
        </p:spPr>
        <p:txBody>
          <a:bodyPr/>
          <a:lstStyle>
            <a:lvl1pPr>
              <a:defRPr sz="2800"/>
            </a:lvl1pPr>
            <a:lvl3pPr marL="800100" indent="-342900">
              <a:buFont typeface="Arial" panose="020B0604020202020204" pitchFamily="34" charset="0"/>
              <a:buChar char="•"/>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40C7541-396E-B04E-BA5F-78A114E03795}"/>
              </a:ext>
            </a:extLst>
          </p:cNvPr>
          <p:cNvSpPr>
            <a:spLocks noGrp="1"/>
          </p:cNvSpPr>
          <p:nvPr>
            <p:ph type="body" sz="quarter" idx="3"/>
          </p:nvPr>
        </p:nvSpPr>
        <p:spPr>
          <a:xfrm>
            <a:off x="6519452" y="1324554"/>
            <a:ext cx="5160039" cy="537177"/>
          </a:xfrm>
        </p:spPr>
        <p:txBody>
          <a:bodyPr anchor="t" anchorCtr="0"/>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678F0-C2AA-FE49-BABD-8E84BFBA8868}"/>
              </a:ext>
            </a:extLst>
          </p:cNvPr>
          <p:cNvSpPr>
            <a:spLocks noGrp="1"/>
          </p:cNvSpPr>
          <p:nvPr>
            <p:ph sz="quarter" idx="4" hasCustomPrompt="1"/>
          </p:nvPr>
        </p:nvSpPr>
        <p:spPr>
          <a:xfrm>
            <a:off x="6542589" y="2200533"/>
            <a:ext cx="5160040" cy="3356642"/>
          </a:xfrm>
        </p:spPr>
        <p:txBody>
          <a:bodyPr/>
          <a:lstStyle>
            <a:lvl1pPr>
              <a:defRPr sz="2800"/>
            </a:lvl1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EA6CF3B6-96DD-354B-9D35-097AC7F6B87D}"/>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35B91E0-4870-CD48-8ECC-1DBCDBF283F4}"/>
              </a:ext>
            </a:extLst>
          </p:cNvPr>
          <p:cNvSpPr>
            <a:spLocks noGrp="1"/>
          </p:cNvSpPr>
          <p:nvPr>
            <p:ph type="sldNum" sz="quarter" idx="12"/>
          </p:nvPr>
        </p:nvSpPr>
        <p:spPr/>
        <p:txBody>
          <a:bodyPr/>
          <a:lstStyle>
            <a:lvl1pPr>
              <a:defRPr>
                <a:solidFill>
                  <a:schemeClr val="accent1"/>
                </a:solidFill>
              </a:defRPr>
            </a:lvl1pPr>
          </a:lstStyle>
          <a:p>
            <a:fld id="{96ACBB43-5C7B-084B-877B-5EF90931306D}" type="slidenum">
              <a:rPr lang="en-US" smtClean="0"/>
              <a:pPr/>
              <a:t>‹#›</a:t>
            </a:fld>
            <a:endParaRPr lang="en-US" dirty="0"/>
          </a:p>
        </p:txBody>
      </p:sp>
      <p:cxnSp>
        <p:nvCxnSpPr>
          <p:cNvPr id="11" name="Straight Connector 10">
            <a:extLst>
              <a:ext uri="{FF2B5EF4-FFF2-40B4-BE49-F238E27FC236}">
                <a16:creationId xmlns:a16="http://schemas.microsoft.com/office/drawing/2014/main" id="{C882155A-D15F-6441-98DD-4C50FAA1A628}"/>
              </a:ext>
            </a:extLst>
          </p:cNvPr>
          <p:cNvCxnSpPr/>
          <p:nvPr userDrawn="1"/>
        </p:nvCxnSpPr>
        <p:spPr>
          <a:xfrm>
            <a:off x="1163880" y="1183938"/>
            <a:ext cx="5157787"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id="{EC42D5B9-E51E-504A-A069-E877528889DD}"/>
              </a:ext>
            </a:extLst>
          </p:cNvPr>
          <p:cNvCxnSpPr>
            <a:cxnSpLocks/>
          </p:cNvCxnSpPr>
          <p:nvPr userDrawn="1"/>
        </p:nvCxnSpPr>
        <p:spPr>
          <a:xfrm>
            <a:off x="6496295" y="1183938"/>
            <a:ext cx="5183188" cy="0"/>
          </a:xfrm>
          <a:prstGeom prst="line">
            <a:avLst/>
          </a:prstGeom>
          <a:ln w="47625"/>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id="{3C1C28F0-BE87-4D4C-8ABB-585C9A7178AB}"/>
              </a:ext>
            </a:extLst>
          </p:cNvPr>
          <p:cNvCxnSpPr/>
          <p:nvPr userDrawn="1"/>
        </p:nvCxnSpPr>
        <p:spPr>
          <a:xfrm>
            <a:off x="1163880" y="2075189"/>
            <a:ext cx="5157787"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id="{2F103DE9-94D1-6845-BD4E-842135DC9FF6}"/>
              </a:ext>
            </a:extLst>
          </p:cNvPr>
          <p:cNvCxnSpPr>
            <a:cxnSpLocks/>
          </p:cNvCxnSpPr>
          <p:nvPr userDrawn="1"/>
        </p:nvCxnSpPr>
        <p:spPr>
          <a:xfrm>
            <a:off x="6519440" y="2075189"/>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id="{E9B66F85-9BD7-4043-B761-2BAD2FFD09F6}"/>
              </a:ext>
            </a:extLst>
          </p:cNvPr>
          <p:cNvCxnSpPr>
            <a:cxnSpLocks/>
          </p:cNvCxnSpPr>
          <p:nvPr userDrawn="1"/>
        </p:nvCxnSpPr>
        <p:spPr>
          <a:xfrm>
            <a:off x="1187032" y="5956762"/>
            <a:ext cx="5134639" cy="0"/>
          </a:xfrm>
          <a:prstGeom prst="line">
            <a:avLst/>
          </a:prstGeom>
          <a:ln w="15875"/>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id="{FABBB607-D0F6-8148-93DE-AB163FE92524}"/>
              </a:ext>
            </a:extLst>
          </p:cNvPr>
          <p:cNvCxnSpPr>
            <a:cxnSpLocks/>
          </p:cNvCxnSpPr>
          <p:nvPr userDrawn="1"/>
        </p:nvCxnSpPr>
        <p:spPr>
          <a:xfrm>
            <a:off x="6542589" y="5956762"/>
            <a:ext cx="5160040" cy="0"/>
          </a:xfrm>
          <a:prstGeom prst="line">
            <a:avLst/>
          </a:prstGeom>
          <a:ln w="15875"/>
        </p:spPr>
        <p:style>
          <a:lnRef idx="3">
            <a:schemeClr val="accent1"/>
          </a:lnRef>
          <a:fillRef idx="0">
            <a:schemeClr val="accent1"/>
          </a:fillRef>
          <a:effectRef idx="2">
            <a:schemeClr val="accent1"/>
          </a:effectRef>
          <a:fontRef idx="minor">
            <a:schemeClr val="tx1"/>
          </a:fontRef>
        </p:style>
      </p:cxnSp>
      <p:pic>
        <p:nvPicPr>
          <p:cNvPr id="21" name="Picture 20">
            <a:extLst>
              <a:ext uri="{FF2B5EF4-FFF2-40B4-BE49-F238E27FC236}">
                <a16:creationId xmlns:a16="http://schemas.microsoft.com/office/drawing/2014/main" id="{E176AB45-BDCE-4010-ABA8-DAC438A4C00C}"/>
              </a:ext>
            </a:extLst>
          </p:cNvPr>
          <p:cNvPicPr>
            <a:picLocks noChangeAspect="1"/>
          </p:cNvPicPr>
          <p:nvPr userDrawn="1"/>
        </p:nvPicPr>
        <p:blipFill>
          <a:blip r:embed="rId3"/>
          <a:stretch>
            <a:fillRect/>
          </a:stretch>
        </p:blipFill>
        <p:spPr>
          <a:xfrm>
            <a:off x="275943" y="6369829"/>
            <a:ext cx="1664793" cy="251114"/>
          </a:xfrm>
          <a:prstGeom prst="rect">
            <a:avLst/>
          </a:prstGeom>
        </p:spPr>
      </p:pic>
    </p:spTree>
    <p:extLst>
      <p:ext uri="{BB962C8B-B14F-4D97-AF65-F5344CB8AC3E}">
        <p14:creationId xmlns:p14="http://schemas.microsoft.com/office/powerpoint/2010/main" val="3298499042"/>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Title and Content - With Animatio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60286"/>
            <a:ext cx="10515600" cy="3912862"/>
          </a:xfrm>
        </p:spPr>
        <p:txBody>
          <a:bodyPr/>
          <a:lstStyle>
            <a:lvl1pPr>
              <a:lnSpc>
                <a:spcPct val="100000"/>
              </a:lnSpc>
              <a:spcBef>
                <a:spcPts val="0"/>
              </a:spcBef>
              <a:spcAft>
                <a:spcPts val="750"/>
              </a:spcAft>
              <a:defRPr sz="2700" baseline="0">
                <a:latin typeface="Arial"/>
                <a:cs typeface="Arial"/>
              </a:defRPr>
            </a:lvl1pPr>
            <a:lvl2pPr>
              <a:lnSpc>
                <a:spcPct val="100000"/>
              </a:lnSpc>
              <a:spcBef>
                <a:spcPts val="0"/>
              </a:spcBef>
              <a:spcAft>
                <a:spcPts val="750"/>
              </a:spcAft>
              <a:defRPr sz="1800" b="0" i="0" baseline="0">
                <a:solidFill>
                  <a:schemeClr val="bg1">
                    <a:lumMod val="50000"/>
                  </a:schemeClr>
                </a:solidFill>
                <a:latin typeface="Arial"/>
                <a:ea typeface="Gotham-Book" charset="0"/>
                <a:cs typeface="Arial"/>
              </a:defRPr>
            </a:lvl2pPr>
            <a:lvl3pPr>
              <a:lnSpc>
                <a:spcPct val="100000"/>
              </a:lnSpc>
              <a:spcBef>
                <a:spcPts val="0"/>
              </a:spcBef>
              <a:spcAft>
                <a:spcPts val="750"/>
              </a:spcAft>
              <a:defRPr sz="1200" baseline="0">
                <a:solidFill>
                  <a:schemeClr val="bg1">
                    <a:lumMod val="50000"/>
                  </a:schemeClr>
                </a:solidFill>
                <a:latin typeface="Arial"/>
                <a:cs typeface="Arial"/>
              </a:defRPr>
            </a:lvl3pPr>
          </a:lstStyle>
          <a:p>
            <a:pPr lvl="0"/>
            <a:r>
              <a:rPr lang="en-US" dirty="0"/>
              <a:t>Click to edit Master text styles</a:t>
            </a:r>
          </a:p>
          <a:p>
            <a:pPr lvl="1"/>
            <a:r>
              <a:rPr lang="en-US" dirty="0"/>
              <a:t>Second level</a:t>
            </a:r>
          </a:p>
          <a:p>
            <a:pPr lvl="2"/>
            <a:r>
              <a:rPr lang="en-US" dirty="0"/>
              <a:t>Third level</a:t>
            </a:r>
          </a:p>
        </p:txBody>
      </p:sp>
      <p:sp>
        <p:nvSpPr>
          <p:cNvPr id="10" name="Title 1"/>
          <p:cNvSpPr>
            <a:spLocks noGrp="1"/>
          </p:cNvSpPr>
          <p:nvPr>
            <p:ph type="title"/>
          </p:nvPr>
        </p:nvSpPr>
        <p:spPr>
          <a:xfrm>
            <a:off x="838199" y="344715"/>
            <a:ext cx="10515600" cy="879928"/>
          </a:xfrm>
        </p:spPr>
        <p:txBody>
          <a:bodyPr/>
          <a:lstStyle>
            <a:lvl1pPr>
              <a:defRPr>
                <a:solidFill>
                  <a:schemeClr val="accent5">
                    <a:lumMod val="50000"/>
                  </a:schemeClr>
                </a:solidFill>
              </a:defRPr>
            </a:lvl1pPr>
          </a:lstStyle>
          <a:p>
            <a:r>
              <a:rPr lang="en-US" dirty="0"/>
              <a:t>Click to edit Master title style</a:t>
            </a:r>
          </a:p>
        </p:txBody>
      </p:sp>
    </p:spTree>
    <p:extLst>
      <p:ext uri="{BB962C8B-B14F-4D97-AF65-F5344CB8AC3E}">
        <p14:creationId xmlns:p14="http://schemas.microsoft.com/office/powerpoint/2010/main" val="3583605796"/>
      </p:ext>
    </p:extLst>
  </p:cSld>
  <p:clrMapOvr>
    <a:masterClrMapping/>
  </p:clrMapOvr>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50930"/>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rotWithShape="1">
          <a:blip r:embed="rId2"/>
          <a:srcRect l="5066" t="12357" r="3916" b="13787"/>
          <a:stretch/>
        </p:blipFill>
        <p:spPr>
          <a:xfrm>
            <a:off x="2785067" y="4295432"/>
            <a:ext cx="4242816" cy="999515"/>
          </a:xfrm>
          <a:prstGeom prst="rect">
            <a:avLst/>
          </a:prstGeom>
        </p:spPr>
      </p:pic>
    </p:spTree>
    <p:extLst>
      <p:ext uri="{BB962C8B-B14F-4D97-AF65-F5344CB8AC3E}">
        <p14:creationId xmlns:p14="http://schemas.microsoft.com/office/powerpoint/2010/main" val="11525471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F5B5C8-7B69-51AA-F46D-C920F46E35BD}"/>
              </a:ext>
            </a:extLst>
          </p:cNvPr>
          <p:cNvPicPr>
            <a:picLocks noChangeAspect="1"/>
          </p:cNvPicPr>
          <p:nvPr userDrawn="1"/>
        </p:nvPicPr>
        <p:blipFill rotWithShape="1">
          <a:blip r:embed="rId2"/>
          <a:srcRect l="5066" t="12357" r="3916" b="13787"/>
          <a:stretch/>
        </p:blipFill>
        <p:spPr>
          <a:xfrm>
            <a:off x="7638765" y="5023720"/>
            <a:ext cx="4242816" cy="999515"/>
          </a:xfrm>
          <a:prstGeom prst="rect">
            <a:avLst/>
          </a:prstGeom>
        </p:spPr>
      </p:pic>
      <p:sp>
        <p:nvSpPr>
          <p:cNvPr id="2" name="Title 1"/>
          <p:cNvSpPr>
            <a:spLocks noGrp="1"/>
          </p:cNvSpPr>
          <p:nvPr>
            <p:ph type="ctrTitle" hasCustomPrompt="1"/>
          </p:nvPr>
        </p:nvSpPr>
        <p:spPr>
          <a:xfrm>
            <a:off x="1143675" y="831049"/>
            <a:ext cx="9861493" cy="2387600"/>
          </a:xfrm>
          <a:prstGeom prst="rect">
            <a:avLst/>
          </a:prstGeom>
        </p:spPr>
        <p:txBody>
          <a:bodyPr anchor="b"/>
          <a:lstStyle>
            <a:lvl1pPr algn="l">
              <a:defRPr sz="5333" b="1" baseline="0">
                <a:solidFill>
                  <a:srgbClr val="003B5C"/>
                </a:solidFill>
                <a:latin typeface="Verdana" charset="0"/>
                <a:ea typeface="Verdana" charset="0"/>
                <a:cs typeface="Verdana" charset="0"/>
              </a:defRPr>
            </a:lvl1pPr>
          </a:lstStyle>
          <a:p>
            <a:r>
              <a:rPr lang="en-US"/>
              <a:t>Presentation Title (40pt)</a:t>
            </a:r>
          </a:p>
        </p:txBody>
      </p:sp>
      <p:sp>
        <p:nvSpPr>
          <p:cNvPr id="3" name="Subtitle 2"/>
          <p:cNvSpPr>
            <a:spLocks noGrp="1"/>
          </p:cNvSpPr>
          <p:nvPr>
            <p:ph type="subTitle" idx="1" hasCustomPrompt="1"/>
          </p:nvPr>
        </p:nvSpPr>
        <p:spPr>
          <a:xfrm>
            <a:off x="1143675" y="3229439"/>
            <a:ext cx="9861493" cy="442759"/>
          </a:xfrm>
          <a:prstGeom prst="rect">
            <a:avLst/>
          </a:prstGeom>
        </p:spPr>
        <p:txBody>
          <a:bodyPr/>
          <a:lstStyle>
            <a:lvl1pPr marL="0" indent="0" algn="l">
              <a:buNone/>
              <a:defRPr sz="3200" baseline="0">
                <a:solidFill>
                  <a:srgbClr val="616364"/>
                </a:solidFill>
                <a:latin typeface="Verdana" charset="0"/>
                <a:ea typeface="Verdana" charset="0"/>
                <a:cs typeface="Verdana"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Presentation Subtitle (24 </a:t>
            </a:r>
            <a:r>
              <a:rPr lang="en-US" err="1"/>
              <a:t>pt</a:t>
            </a:r>
            <a:r>
              <a:rPr lang="en-US"/>
              <a:t>)</a:t>
            </a:r>
          </a:p>
        </p:txBody>
      </p:sp>
      <p:sp>
        <p:nvSpPr>
          <p:cNvPr id="11" name="Text Placeholder 10"/>
          <p:cNvSpPr>
            <a:spLocks noGrp="1"/>
          </p:cNvSpPr>
          <p:nvPr>
            <p:ph type="body" sz="quarter" idx="10" hasCustomPrompt="1"/>
          </p:nvPr>
        </p:nvSpPr>
        <p:spPr>
          <a:xfrm>
            <a:off x="1143675" y="3882599"/>
            <a:ext cx="9861493" cy="450419"/>
          </a:xfrm>
          <a:prstGeom prst="rect">
            <a:avLst/>
          </a:prstGeom>
        </p:spPr>
        <p:txBody>
          <a:bodyPr/>
          <a:lstStyle>
            <a:lvl1pPr marL="0" indent="0">
              <a:buNone/>
              <a:defRPr sz="1600" b="0" i="0">
                <a:solidFill>
                  <a:srgbClr val="616364"/>
                </a:solidFill>
                <a:latin typeface="Verdana" charset="0"/>
                <a:ea typeface="Verdana" charset="0"/>
                <a:cs typeface="Verdana" charset="0"/>
              </a:defRPr>
            </a:lvl1pPr>
          </a:lstStyle>
          <a:p>
            <a:pPr marL="0" indent="0">
              <a:buNone/>
            </a:pPr>
            <a:r>
              <a:rPr lang="en-US" sz="1867">
                <a:solidFill>
                  <a:schemeClr val="tx1">
                    <a:lumMod val="65000"/>
                    <a:lumOff val="35000"/>
                  </a:schemeClr>
                </a:solidFill>
                <a:latin typeface="Verdana" charset="0"/>
                <a:ea typeface="Verdana" charset="0"/>
                <a:cs typeface="Verdana" charset="0"/>
              </a:rPr>
              <a:t>Date | Presenter Information (14 </a:t>
            </a:r>
            <a:r>
              <a:rPr lang="en-US" sz="1867" err="1">
                <a:solidFill>
                  <a:schemeClr val="tx1">
                    <a:lumMod val="65000"/>
                    <a:lumOff val="35000"/>
                  </a:schemeClr>
                </a:solidFill>
                <a:latin typeface="Verdana" charset="0"/>
                <a:ea typeface="Verdana" charset="0"/>
                <a:cs typeface="Verdana" charset="0"/>
              </a:rPr>
              <a:t>pt</a:t>
            </a:r>
            <a:r>
              <a:rPr lang="en-US" sz="1867">
                <a:solidFill>
                  <a:schemeClr val="tx1">
                    <a:lumMod val="65000"/>
                    <a:lumOff val="35000"/>
                  </a:schemeClr>
                </a:solidFill>
                <a:latin typeface="Verdana" charset="0"/>
                <a:ea typeface="Verdana" charset="0"/>
                <a:cs typeface="Verdana" charset="0"/>
              </a:rPr>
              <a:t>)</a:t>
            </a:r>
          </a:p>
        </p:txBody>
      </p:sp>
      <p:sp>
        <p:nvSpPr>
          <p:cNvPr id="13" name="Rectangle 12">
            <a:extLst>
              <a:ext uri="{FF2B5EF4-FFF2-40B4-BE49-F238E27FC236}">
                <a16:creationId xmlns:a16="http://schemas.microsoft.com/office/drawing/2014/main" id="{23C321A4-E52D-2845-8647-B84F191C389C}"/>
              </a:ext>
            </a:extLst>
          </p:cNvPr>
          <p:cNvSpPr/>
          <p:nvPr/>
        </p:nvSpPr>
        <p:spPr>
          <a:xfrm>
            <a:off x="0" y="6178040"/>
            <a:ext cx="12192000" cy="679961"/>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4" name="Rectangle 13">
            <a:extLst>
              <a:ext uri="{FF2B5EF4-FFF2-40B4-BE49-F238E27FC236}">
                <a16:creationId xmlns:a16="http://schemas.microsoft.com/office/drawing/2014/main" id="{BD8F7AC5-29D1-EB43-BF58-C8ABD803FFFB}"/>
              </a:ext>
            </a:extLst>
          </p:cNvPr>
          <p:cNvSpPr/>
          <p:nvPr/>
        </p:nvSpPr>
        <p:spPr>
          <a:xfrm>
            <a:off x="1" y="1"/>
            <a:ext cx="5396089" cy="86188"/>
          </a:xfrm>
          <a:prstGeom prst="rect">
            <a:avLst/>
          </a:prstGeom>
          <a:solidFill>
            <a:srgbClr val="A2C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Rectangle 8">
            <a:extLst>
              <a:ext uri="{FF2B5EF4-FFF2-40B4-BE49-F238E27FC236}">
                <a16:creationId xmlns:a16="http://schemas.microsoft.com/office/drawing/2014/main" id="{23C321A4-E52D-2845-8647-B84F191C389C}"/>
              </a:ext>
            </a:extLst>
          </p:cNvPr>
          <p:cNvSpPr/>
          <p:nvPr userDrawn="1"/>
        </p:nvSpPr>
        <p:spPr>
          <a:xfrm>
            <a:off x="0" y="6178040"/>
            <a:ext cx="12192000" cy="679961"/>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Rectangle 9">
            <a:extLst>
              <a:ext uri="{FF2B5EF4-FFF2-40B4-BE49-F238E27FC236}">
                <a16:creationId xmlns:a16="http://schemas.microsoft.com/office/drawing/2014/main" id="{BD8F7AC5-29D1-EB43-BF58-C8ABD803FFFB}"/>
              </a:ext>
            </a:extLst>
          </p:cNvPr>
          <p:cNvSpPr/>
          <p:nvPr userDrawn="1"/>
        </p:nvSpPr>
        <p:spPr>
          <a:xfrm>
            <a:off x="1" y="1"/>
            <a:ext cx="5396089" cy="86188"/>
          </a:xfrm>
          <a:prstGeom prst="rect">
            <a:avLst/>
          </a:prstGeom>
          <a:solidFill>
            <a:srgbClr val="A2C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7063F9D-F93B-595F-B49C-E4B0A7B27D8B}"/>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4" name="Picture 3" descr="Text&#10;&#10;Description automatically generated">
            <a:extLst>
              <a:ext uri="{FF2B5EF4-FFF2-40B4-BE49-F238E27FC236}">
                <a16:creationId xmlns:a16="http://schemas.microsoft.com/office/drawing/2014/main" id="{39794B4B-7882-E4E6-FF20-18E4EFF4D1BE}"/>
              </a:ext>
            </a:extLst>
          </p:cNvPr>
          <p:cNvPicPr>
            <a:picLocks noChangeAspect="1"/>
          </p:cNvPicPr>
          <p:nvPr userDrawn="1"/>
        </p:nvPicPr>
        <p:blipFill rotWithShape="1">
          <a:blip r:embed="rId2"/>
          <a:srcRect l="5005" t="17990" r="4954" b="39003"/>
          <a:stretch/>
        </p:blipFill>
        <p:spPr>
          <a:xfrm>
            <a:off x="5762487" y="6473190"/>
            <a:ext cx="2377440" cy="329679"/>
          </a:xfrm>
          <a:prstGeom prst="rect">
            <a:avLst/>
          </a:prstGeom>
        </p:spPr>
      </p:pic>
      <p:pic>
        <p:nvPicPr>
          <p:cNvPr id="7" name="Picture 6" descr="Shape, rectangle&#10;&#10;Description automatically generated">
            <a:extLst>
              <a:ext uri="{FF2B5EF4-FFF2-40B4-BE49-F238E27FC236}">
                <a16:creationId xmlns:a16="http://schemas.microsoft.com/office/drawing/2014/main" id="{38F82E2B-5E58-7B57-6F9D-27D33700250F}"/>
              </a:ext>
            </a:extLst>
          </p:cNvPr>
          <p:cNvPicPr>
            <a:picLocks noChangeAspect="1"/>
          </p:cNvPicPr>
          <p:nvPr userDrawn="1"/>
        </p:nvPicPr>
        <p:blipFill rotWithShape="1">
          <a:blip r:embed="rId3"/>
          <a:srcRect l="-4357" t="-109" r="39759" b="81895"/>
          <a:stretch/>
        </p:blipFill>
        <p:spPr>
          <a:xfrm>
            <a:off x="8158320" y="6347232"/>
            <a:ext cx="4033680" cy="510768"/>
          </a:xfrm>
          <a:prstGeom prst="rect">
            <a:avLst/>
          </a:prstGeom>
        </p:spPr>
      </p:pic>
      <p:pic>
        <p:nvPicPr>
          <p:cNvPr id="8" name="Picture 7" descr="Text&#10;&#10;Description automatically generated">
            <a:extLst>
              <a:ext uri="{FF2B5EF4-FFF2-40B4-BE49-F238E27FC236}">
                <a16:creationId xmlns:a16="http://schemas.microsoft.com/office/drawing/2014/main" id="{68C7E7E0-EF66-44E3-7BBC-87DDB4FC9A32}"/>
              </a:ext>
            </a:extLst>
          </p:cNvPr>
          <p:cNvPicPr>
            <a:picLocks noChangeAspect="1"/>
          </p:cNvPicPr>
          <p:nvPr userDrawn="1"/>
        </p:nvPicPr>
        <p:blipFill rotWithShape="1">
          <a:blip r:embed="rId2"/>
          <a:srcRect l="16907" t="62319" r="16782" b="19130"/>
          <a:stretch/>
        </p:blipFill>
        <p:spPr>
          <a:xfrm>
            <a:off x="8810739" y="6480696"/>
            <a:ext cx="3002285" cy="243840"/>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80723"/>
            <a:ext cx="10156179"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Title and Content_No Bottom B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33C4F75-1E14-A328-5775-AE72A434298A}"/>
              </a:ext>
            </a:extLst>
          </p:cNvPr>
          <p:cNvPicPr>
            <a:picLocks noChangeAspect="1"/>
          </p:cNvPicPr>
          <p:nvPr userDrawn="1"/>
        </p:nvPicPr>
        <p:blipFill rotWithShape="1">
          <a:blip r:embed="rId2"/>
          <a:srcRect l="5066" t="16386" r="3916" b="39745"/>
          <a:stretch/>
        </p:blipFill>
        <p:spPr>
          <a:xfrm>
            <a:off x="5762487" y="6461660"/>
            <a:ext cx="2413776" cy="341209"/>
          </a:xfrm>
          <a:prstGeom prst="rect">
            <a:avLst/>
          </a:prstGeom>
        </p:spPr>
      </p:pic>
      <p:sp>
        <p:nvSpPr>
          <p:cNvPr id="2" name="Title 1"/>
          <p:cNvSpPr>
            <a:spLocks noGrp="1"/>
          </p:cNvSpPr>
          <p:nvPr>
            <p:ph type="title" hasCustomPrompt="1"/>
          </p:nvPr>
        </p:nvSpPr>
        <p:spPr>
          <a:xfrm>
            <a:off x="848989" y="880723"/>
            <a:ext cx="10156179"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pic>
        <p:nvPicPr>
          <p:cNvPr id="5" name="Picture 4" descr="Shape, rectangle&#10;&#10;Description automatically generated">
            <a:extLst>
              <a:ext uri="{FF2B5EF4-FFF2-40B4-BE49-F238E27FC236}">
                <a16:creationId xmlns:a16="http://schemas.microsoft.com/office/drawing/2014/main" id="{E464766A-BE93-C3A9-99A0-AFC7764323F0}"/>
              </a:ext>
            </a:extLst>
          </p:cNvPr>
          <p:cNvPicPr>
            <a:picLocks noChangeAspect="1"/>
          </p:cNvPicPr>
          <p:nvPr userDrawn="1"/>
        </p:nvPicPr>
        <p:blipFill rotWithShape="1">
          <a:blip r:embed="rId3"/>
          <a:srcRect l="-4357" t="-108" r="39759" b="81895"/>
          <a:stretch/>
        </p:blipFill>
        <p:spPr>
          <a:xfrm>
            <a:off x="8158320" y="6347232"/>
            <a:ext cx="4033680" cy="510768"/>
          </a:xfrm>
          <a:prstGeom prst="rect">
            <a:avLst/>
          </a:prstGeom>
        </p:spPr>
      </p:pic>
      <p:pic>
        <p:nvPicPr>
          <p:cNvPr id="6" name="Picture 5" descr="Text&#10;&#10;Description automatically generated">
            <a:extLst>
              <a:ext uri="{FF2B5EF4-FFF2-40B4-BE49-F238E27FC236}">
                <a16:creationId xmlns:a16="http://schemas.microsoft.com/office/drawing/2014/main" id="{DFBDB5E9-DC14-D8DF-E5AA-5F647822F518}"/>
              </a:ext>
            </a:extLst>
          </p:cNvPr>
          <p:cNvPicPr>
            <a:picLocks noChangeAspect="1"/>
          </p:cNvPicPr>
          <p:nvPr userDrawn="1"/>
        </p:nvPicPr>
        <p:blipFill rotWithShape="1">
          <a:blip r:embed="rId4"/>
          <a:srcRect l="16907" t="62319" r="16782" b="19130"/>
          <a:stretch/>
        </p:blipFill>
        <p:spPr>
          <a:xfrm>
            <a:off x="8810739" y="6480696"/>
            <a:ext cx="3002285" cy="243840"/>
          </a:xfrm>
          <a:prstGeom prst="rect">
            <a:avLst/>
          </a:prstGeom>
        </p:spPr>
      </p:pic>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and Bullets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D378054-FAD6-F182-1D43-23EED3F13FF2}"/>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6" name="Picture 5" descr="Text&#10;&#10;Description automatically generated">
            <a:extLst>
              <a:ext uri="{FF2B5EF4-FFF2-40B4-BE49-F238E27FC236}">
                <a16:creationId xmlns:a16="http://schemas.microsoft.com/office/drawing/2014/main" id="{FA44862C-7E14-4CE8-63D6-8C5893B432F1}"/>
              </a:ext>
            </a:extLst>
          </p:cNvPr>
          <p:cNvPicPr>
            <a:picLocks noChangeAspect="1"/>
          </p:cNvPicPr>
          <p:nvPr userDrawn="1"/>
        </p:nvPicPr>
        <p:blipFill rotWithShape="1">
          <a:blip r:embed="rId2"/>
          <a:srcRect l="5005" t="17990" r="4954" b="39003"/>
          <a:stretch/>
        </p:blipFill>
        <p:spPr>
          <a:xfrm>
            <a:off x="5762487" y="6473190"/>
            <a:ext cx="2377440" cy="329679"/>
          </a:xfrm>
          <a:prstGeom prst="rect">
            <a:avLst/>
          </a:prstGeom>
        </p:spPr>
      </p:pic>
      <p:pic>
        <p:nvPicPr>
          <p:cNvPr id="7" name="Picture 6" descr="Shape, rectangle&#10;&#10;Description automatically generated">
            <a:extLst>
              <a:ext uri="{FF2B5EF4-FFF2-40B4-BE49-F238E27FC236}">
                <a16:creationId xmlns:a16="http://schemas.microsoft.com/office/drawing/2014/main" id="{848EC431-D1B1-6E41-1CDA-C7FFE6E60796}"/>
              </a:ext>
            </a:extLst>
          </p:cNvPr>
          <p:cNvPicPr>
            <a:picLocks noChangeAspect="1"/>
          </p:cNvPicPr>
          <p:nvPr userDrawn="1"/>
        </p:nvPicPr>
        <p:blipFill rotWithShape="1">
          <a:blip r:embed="rId3"/>
          <a:srcRect l="-4357" t="-109" r="39759" b="81895"/>
          <a:stretch/>
        </p:blipFill>
        <p:spPr>
          <a:xfrm>
            <a:off x="8158320" y="6347232"/>
            <a:ext cx="4033680" cy="510768"/>
          </a:xfrm>
          <a:prstGeom prst="rect">
            <a:avLst/>
          </a:prstGeom>
        </p:spPr>
      </p:pic>
      <p:pic>
        <p:nvPicPr>
          <p:cNvPr id="8" name="Picture 7" descr="Text&#10;&#10;Description automatically generated">
            <a:extLst>
              <a:ext uri="{FF2B5EF4-FFF2-40B4-BE49-F238E27FC236}">
                <a16:creationId xmlns:a16="http://schemas.microsoft.com/office/drawing/2014/main" id="{8B940DA2-4566-0417-CB89-51CF166001C2}"/>
              </a:ext>
            </a:extLst>
          </p:cNvPr>
          <p:cNvPicPr>
            <a:picLocks noChangeAspect="1"/>
          </p:cNvPicPr>
          <p:nvPr userDrawn="1"/>
        </p:nvPicPr>
        <p:blipFill rotWithShape="1">
          <a:blip r:embed="rId2"/>
          <a:srcRect l="16907" t="62319" r="16782" b="19130"/>
          <a:stretch/>
        </p:blipFill>
        <p:spPr>
          <a:xfrm>
            <a:off x="8810739" y="6480696"/>
            <a:ext cx="3002285" cy="243840"/>
          </a:xfrm>
          <a:prstGeom prst="rect">
            <a:avLst/>
          </a:prstGeom>
        </p:spPr>
      </p:pic>
      <p:sp>
        <p:nvSpPr>
          <p:cNvPr id="2" name="Title 1"/>
          <p:cNvSpPr>
            <a:spLocks noGrp="1"/>
          </p:cNvSpPr>
          <p:nvPr>
            <p:ph type="title" hasCustomPrompt="1"/>
          </p:nvPr>
        </p:nvSpPr>
        <p:spPr>
          <a:xfrm>
            <a:off x="848990" y="857712"/>
            <a:ext cx="10177757"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and Bullets Layout_No Bottom 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857712"/>
            <a:ext cx="10177757"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4" name="Text Placeholder 3"/>
          <p:cNvSpPr>
            <a:spLocks noGrp="1"/>
          </p:cNvSpPr>
          <p:nvPr>
            <p:ph type="body" sz="quarter" idx="10" hasCustomPrompt="1"/>
          </p:nvPr>
        </p:nvSpPr>
        <p:spPr>
          <a:xfrm>
            <a:off x="850019" y="1614842"/>
            <a:ext cx="10176728" cy="3435349"/>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b="1">
                <a:solidFill>
                  <a:srgbClr val="00314C"/>
                </a:solidFill>
                <a:latin typeface="Verdana" charset="0"/>
                <a:ea typeface="Verdana" charset="0"/>
                <a:cs typeface="Verdana" charset="0"/>
              </a:defRPr>
            </a:lvl2pPr>
            <a:lvl3pPr>
              <a:defRPr sz="2133" b="1">
                <a:solidFill>
                  <a:srgbClr val="00314C"/>
                </a:solidFill>
                <a:latin typeface="Verdana" charset="0"/>
                <a:ea typeface="Verdana" charset="0"/>
                <a:cs typeface="Verdana" charset="0"/>
              </a:defRPr>
            </a:lvl3pPr>
            <a:lvl4pPr>
              <a:defRPr sz="2133" b="1">
                <a:solidFill>
                  <a:srgbClr val="00314C"/>
                </a:solidFill>
                <a:latin typeface="Verdana" charset="0"/>
                <a:ea typeface="Verdana" charset="0"/>
                <a:cs typeface="Verdana" charset="0"/>
              </a:defRPr>
            </a:lvl4pPr>
            <a:lvl5pPr>
              <a:defRPr sz="2133" b="1">
                <a:solidFill>
                  <a:srgbClr val="00314C"/>
                </a:solidFill>
                <a:latin typeface="Verdana" charset="0"/>
                <a:ea typeface="Verdana" charset="0"/>
                <a:cs typeface="Verdana" charset="0"/>
              </a:defRPr>
            </a:lvl5pPr>
          </a:lstStyle>
          <a:p>
            <a:pPr lvl="0"/>
            <a:r>
              <a:rPr lang="en-US"/>
              <a:t>Copy goes here</a:t>
            </a:r>
          </a:p>
        </p:txBody>
      </p:sp>
      <p:pic>
        <p:nvPicPr>
          <p:cNvPr id="3" name="Picture 2">
            <a:extLst>
              <a:ext uri="{FF2B5EF4-FFF2-40B4-BE49-F238E27FC236}">
                <a16:creationId xmlns:a16="http://schemas.microsoft.com/office/drawing/2014/main" id="{97BEE73E-C179-A6F2-E174-1B7028BFF107}"/>
              </a:ext>
            </a:extLst>
          </p:cNvPr>
          <p:cNvPicPr>
            <a:picLocks noChangeAspect="1"/>
          </p:cNvPicPr>
          <p:nvPr userDrawn="1"/>
        </p:nvPicPr>
        <p:blipFill rotWithShape="1">
          <a:blip r:embed="rId2"/>
          <a:srcRect l="5066" t="16386" r="3916" b="39745"/>
          <a:stretch/>
        </p:blipFill>
        <p:spPr>
          <a:xfrm>
            <a:off x="5762487" y="6461660"/>
            <a:ext cx="2413776" cy="341209"/>
          </a:xfrm>
          <a:prstGeom prst="rect">
            <a:avLst/>
          </a:prstGeom>
        </p:spPr>
      </p:pic>
      <p:pic>
        <p:nvPicPr>
          <p:cNvPr id="6" name="Picture 5" descr="Shape, rectangle&#10;&#10;Description automatically generated">
            <a:extLst>
              <a:ext uri="{FF2B5EF4-FFF2-40B4-BE49-F238E27FC236}">
                <a16:creationId xmlns:a16="http://schemas.microsoft.com/office/drawing/2014/main" id="{B5B430AB-4648-6B00-6772-5731B963FF53}"/>
              </a:ext>
            </a:extLst>
          </p:cNvPr>
          <p:cNvPicPr>
            <a:picLocks noChangeAspect="1"/>
          </p:cNvPicPr>
          <p:nvPr userDrawn="1"/>
        </p:nvPicPr>
        <p:blipFill rotWithShape="1">
          <a:blip r:embed="rId3"/>
          <a:srcRect l="-4357" t="-108" r="39759" b="81895"/>
          <a:stretch/>
        </p:blipFill>
        <p:spPr>
          <a:xfrm>
            <a:off x="8158320" y="6347232"/>
            <a:ext cx="4033680" cy="510768"/>
          </a:xfrm>
          <a:prstGeom prst="rect">
            <a:avLst/>
          </a:prstGeom>
        </p:spPr>
      </p:pic>
      <p:pic>
        <p:nvPicPr>
          <p:cNvPr id="7" name="Picture 6" descr="Text&#10;&#10;Description automatically generated">
            <a:extLst>
              <a:ext uri="{FF2B5EF4-FFF2-40B4-BE49-F238E27FC236}">
                <a16:creationId xmlns:a16="http://schemas.microsoft.com/office/drawing/2014/main" id="{59BF859F-CA0E-3443-C0D5-37976FFE9A4C}"/>
              </a:ext>
            </a:extLst>
          </p:cNvPr>
          <p:cNvPicPr>
            <a:picLocks noChangeAspect="1"/>
          </p:cNvPicPr>
          <p:nvPr userDrawn="1"/>
        </p:nvPicPr>
        <p:blipFill rotWithShape="1">
          <a:blip r:embed="rId4"/>
          <a:srcRect l="16907" t="62319" r="16782" b="19130"/>
          <a:stretch/>
        </p:blipFill>
        <p:spPr>
          <a:xfrm>
            <a:off x="8810739" y="6480696"/>
            <a:ext cx="3002285" cy="243840"/>
          </a:xfrm>
          <a:prstGeom prst="rect">
            <a:avLst/>
          </a:prstGeom>
        </p:spPr>
      </p:pic>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CDB4DBA-B694-3600-7CAD-4C2D2D087078}"/>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6" name="Picture 5" descr="Text&#10;&#10;Description automatically generated">
            <a:extLst>
              <a:ext uri="{FF2B5EF4-FFF2-40B4-BE49-F238E27FC236}">
                <a16:creationId xmlns:a16="http://schemas.microsoft.com/office/drawing/2014/main" id="{1C728AD5-E6DD-9906-2250-BB2703776331}"/>
              </a:ext>
            </a:extLst>
          </p:cNvPr>
          <p:cNvPicPr>
            <a:picLocks noChangeAspect="1"/>
          </p:cNvPicPr>
          <p:nvPr userDrawn="1"/>
        </p:nvPicPr>
        <p:blipFill rotWithShape="1">
          <a:blip r:embed="rId2"/>
          <a:srcRect l="5005" t="17990" r="4954" b="39003"/>
          <a:stretch/>
        </p:blipFill>
        <p:spPr>
          <a:xfrm>
            <a:off x="5762487" y="6473190"/>
            <a:ext cx="2377440" cy="329679"/>
          </a:xfrm>
          <a:prstGeom prst="rect">
            <a:avLst/>
          </a:prstGeom>
        </p:spPr>
      </p:pic>
      <p:pic>
        <p:nvPicPr>
          <p:cNvPr id="7" name="Picture 6" descr="Shape, rectangle&#10;&#10;Description automatically generated">
            <a:extLst>
              <a:ext uri="{FF2B5EF4-FFF2-40B4-BE49-F238E27FC236}">
                <a16:creationId xmlns:a16="http://schemas.microsoft.com/office/drawing/2014/main" id="{C8125D25-6543-B5A4-0AB5-6FF8AE66D1E8}"/>
              </a:ext>
            </a:extLst>
          </p:cNvPr>
          <p:cNvPicPr>
            <a:picLocks noChangeAspect="1"/>
          </p:cNvPicPr>
          <p:nvPr userDrawn="1"/>
        </p:nvPicPr>
        <p:blipFill rotWithShape="1">
          <a:blip r:embed="rId3"/>
          <a:srcRect l="-4357" t="-109" r="39759" b="81895"/>
          <a:stretch/>
        </p:blipFill>
        <p:spPr>
          <a:xfrm>
            <a:off x="8158320" y="6347232"/>
            <a:ext cx="4033680" cy="510768"/>
          </a:xfrm>
          <a:prstGeom prst="rect">
            <a:avLst/>
          </a:prstGeom>
        </p:spPr>
      </p:pic>
      <p:pic>
        <p:nvPicPr>
          <p:cNvPr id="8" name="Picture 7" descr="Text&#10;&#10;Description automatically generated">
            <a:extLst>
              <a:ext uri="{FF2B5EF4-FFF2-40B4-BE49-F238E27FC236}">
                <a16:creationId xmlns:a16="http://schemas.microsoft.com/office/drawing/2014/main" id="{C91F210D-3975-EE08-074A-813B50DC994E}"/>
              </a:ext>
            </a:extLst>
          </p:cNvPr>
          <p:cNvPicPr>
            <a:picLocks noChangeAspect="1"/>
          </p:cNvPicPr>
          <p:nvPr userDrawn="1"/>
        </p:nvPicPr>
        <p:blipFill rotWithShape="1">
          <a:blip r:embed="rId2"/>
          <a:srcRect l="16907" t="62319" r="16782" b="19130"/>
          <a:stretch/>
        </p:blipFill>
        <p:spPr>
          <a:xfrm>
            <a:off x="8810739" y="6480696"/>
            <a:ext cx="3002285" cy="243840"/>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228393"/>
            <a:ext cx="5466561"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wo Section | Copy with Graph">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6B79CE-FAC8-5E67-D552-B71C536ED955}"/>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Picture 6" descr="Text&#10;&#10;Description automatically generated">
            <a:extLst>
              <a:ext uri="{FF2B5EF4-FFF2-40B4-BE49-F238E27FC236}">
                <a16:creationId xmlns:a16="http://schemas.microsoft.com/office/drawing/2014/main" id="{BE01BE7C-AE32-E8CF-B6EC-2663E221F64B}"/>
              </a:ext>
            </a:extLst>
          </p:cNvPr>
          <p:cNvPicPr>
            <a:picLocks noChangeAspect="1"/>
          </p:cNvPicPr>
          <p:nvPr userDrawn="1"/>
        </p:nvPicPr>
        <p:blipFill rotWithShape="1">
          <a:blip r:embed="rId2"/>
          <a:srcRect l="5005" t="17990" r="4954" b="39003"/>
          <a:stretch/>
        </p:blipFill>
        <p:spPr>
          <a:xfrm>
            <a:off x="5762487" y="6473190"/>
            <a:ext cx="2377440" cy="329679"/>
          </a:xfrm>
          <a:prstGeom prst="rect">
            <a:avLst/>
          </a:prstGeom>
        </p:spPr>
      </p:pic>
      <p:pic>
        <p:nvPicPr>
          <p:cNvPr id="9" name="Picture 8" descr="Shape, rectangle&#10;&#10;Description automatically generated">
            <a:extLst>
              <a:ext uri="{FF2B5EF4-FFF2-40B4-BE49-F238E27FC236}">
                <a16:creationId xmlns:a16="http://schemas.microsoft.com/office/drawing/2014/main" id="{E402945C-7D34-ECD4-4898-D53D6DF27EDD}"/>
              </a:ext>
            </a:extLst>
          </p:cNvPr>
          <p:cNvPicPr>
            <a:picLocks noChangeAspect="1"/>
          </p:cNvPicPr>
          <p:nvPr userDrawn="1"/>
        </p:nvPicPr>
        <p:blipFill rotWithShape="1">
          <a:blip r:embed="rId3"/>
          <a:srcRect l="-4357" t="-109" r="39759" b="81895"/>
          <a:stretch/>
        </p:blipFill>
        <p:spPr>
          <a:xfrm>
            <a:off x="8158320" y="6347232"/>
            <a:ext cx="4033680" cy="510768"/>
          </a:xfrm>
          <a:prstGeom prst="rect">
            <a:avLst/>
          </a:prstGeom>
        </p:spPr>
      </p:pic>
      <p:pic>
        <p:nvPicPr>
          <p:cNvPr id="11" name="Picture 10" descr="Text&#10;&#10;Description automatically generated">
            <a:extLst>
              <a:ext uri="{FF2B5EF4-FFF2-40B4-BE49-F238E27FC236}">
                <a16:creationId xmlns:a16="http://schemas.microsoft.com/office/drawing/2014/main" id="{C1521A80-3CCF-9B93-4FF8-D72645178279}"/>
              </a:ext>
            </a:extLst>
          </p:cNvPr>
          <p:cNvPicPr>
            <a:picLocks noChangeAspect="1"/>
          </p:cNvPicPr>
          <p:nvPr userDrawn="1"/>
        </p:nvPicPr>
        <p:blipFill rotWithShape="1">
          <a:blip r:embed="rId2"/>
          <a:srcRect l="16907" t="62319" r="16782" b="19130"/>
          <a:stretch/>
        </p:blipFill>
        <p:spPr>
          <a:xfrm>
            <a:off x="8810739" y="6480696"/>
            <a:ext cx="3002285" cy="243840"/>
          </a:xfrm>
          <a:prstGeom prst="rect">
            <a:avLst/>
          </a:prstGeom>
        </p:spPr>
      </p:pic>
      <p:sp>
        <p:nvSpPr>
          <p:cNvPr id="2" name="Title 1"/>
          <p:cNvSpPr>
            <a:spLocks noGrp="1"/>
          </p:cNvSpPr>
          <p:nvPr>
            <p:ph type="title" hasCustomPrompt="1"/>
          </p:nvPr>
        </p:nvSpPr>
        <p:spPr>
          <a:xfrm>
            <a:off x="852361" y="863628"/>
            <a:ext cx="10767800"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 across top of slide</a:t>
            </a:r>
          </a:p>
        </p:txBody>
      </p:sp>
      <p:sp>
        <p:nvSpPr>
          <p:cNvPr id="10" name="Rectangle 9">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idx="1" hasCustomPrompt="1"/>
          </p:nvPr>
        </p:nvSpPr>
        <p:spPr>
          <a:xfrm>
            <a:off x="4477593" y="2211822"/>
            <a:ext cx="7142569" cy="3646375"/>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b="0" i="1" baseline="0">
                <a:solidFill>
                  <a:srgbClr val="003B5C"/>
                </a:solidFill>
                <a:latin typeface="Verdana" charset="0"/>
                <a:ea typeface="Verdana" charset="0"/>
                <a:cs typeface="Verdana" charset="0"/>
              </a:defRPr>
            </a:lvl1pPr>
            <a:lvl2pPr>
              <a:defRPr sz="2800" b="1" i="0">
                <a:latin typeface="Verdana" charset="0"/>
                <a:ea typeface="Verdana" charset="0"/>
                <a:cs typeface="Verdana" charset="0"/>
              </a:defRPr>
            </a:lvl2pPr>
            <a:lvl3pPr>
              <a:defRPr sz="2400" b="1" i="0">
                <a:latin typeface="Verdana" charset="0"/>
                <a:ea typeface="Verdana" charset="0"/>
                <a:cs typeface="Verdana" charset="0"/>
              </a:defRPr>
            </a:lvl3pPr>
            <a:lvl4pPr>
              <a:defRPr sz="2000" b="1" i="0">
                <a:latin typeface="Verdana" charset="0"/>
                <a:ea typeface="Verdana" charset="0"/>
                <a:cs typeface="Verdana" charset="0"/>
              </a:defRPr>
            </a:lvl4pPr>
            <a:lvl5pPr>
              <a:defRPr sz="2000" b="1" i="0">
                <a:latin typeface="Verdana" charset="0"/>
                <a:ea typeface="Verdana" charset="0"/>
                <a:cs typeface="Verdana" charset="0"/>
              </a:defRPr>
            </a:lvl5pPr>
            <a:lvl6pPr>
              <a:defRPr sz="2000"/>
            </a:lvl6pPr>
            <a:lvl7pPr>
              <a:defRPr sz="2000"/>
            </a:lvl7pPr>
            <a:lvl8pPr>
              <a:defRPr sz="2000"/>
            </a:lvl8pPr>
            <a:lvl9pPr>
              <a:defRPr sz="20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sert Graph Here.</a:t>
            </a:r>
          </a:p>
          <a:p>
            <a:pPr lvl="0"/>
            <a:endParaRPr lang="en-US"/>
          </a:p>
        </p:txBody>
      </p:sp>
      <p:sp>
        <p:nvSpPr>
          <p:cNvPr id="4" name="Text Placeholder 3"/>
          <p:cNvSpPr>
            <a:spLocks noGrp="1"/>
          </p:cNvSpPr>
          <p:nvPr>
            <p:ph type="body" sz="half" idx="2" hasCustomPrompt="1"/>
          </p:nvPr>
        </p:nvSpPr>
        <p:spPr>
          <a:xfrm>
            <a:off x="852361" y="2211823"/>
            <a:ext cx="3381297" cy="3646376"/>
          </a:xfrm>
          <a:prstGeom prst="rect">
            <a:avLst/>
          </a:prstGeom>
        </p:spPr>
        <p:txBody>
          <a:bodyPr/>
          <a:lstStyle>
            <a:lvl1pPr marL="0" indent="0">
              <a:buNone/>
              <a:defRPr sz="1867" b="0" i="0" baseline="0">
                <a:solidFill>
                  <a:schemeClr val="tx1"/>
                </a:solidFill>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opy goes here.</a:t>
            </a:r>
          </a:p>
          <a:p>
            <a:pPr lvl="0"/>
            <a:endParaRPr lang="en-US"/>
          </a:p>
        </p:txBody>
      </p:sp>
      <p:sp>
        <p:nvSpPr>
          <p:cNvPr id="22" name="Text Placeholder 21"/>
          <p:cNvSpPr>
            <a:spLocks noGrp="1"/>
          </p:cNvSpPr>
          <p:nvPr>
            <p:ph type="body" sz="quarter" idx="10" hasCustomPrompt="1"/>
          </p:nvPr>
        </p:nvSpPr>
        <p:spPr>
          <a:xfrm>
            <a:off x="852361" y="1614803"/>
            <a:ext cx="10767801" cy="372533"/>
          </a:xfrm>
          <a:prstGeom prst="rect">
            <a:avLst/>
          </a:prstGeom>
        </p:spPr>
        <p:txBody>
          <a:bodyPr/>
          <a:lstStyle>
            <a:lvl1pPr marL="0" indent="0">
              <a:buNone/>
              <a:defRPr sz="2133" b="0" i="0">
                <a:solidFill>
                  <a:srgbClr val="003B5C"/>
                </a:solidFill>
                <a:latin typeface="Verdana" charset="0"/>
                <a:ea typeface="Verdana" charset="0"/>
                <a:cs typeface="Verdana" charset="0"/>
              </a:defRPr>
            </a:lvl1pPr>
          </a:lstStyle>
          <a:p>
            <a:pPr lvl="0"/>
            <a:r>
              <a:rPr lang="en-US"/>
              <a:t>Subhead</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wo Section | Copy with Graph Centere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C184BE0-0284-B0A4-758B-E88129B2D283}"/>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7" name="Picture 6" descr="Text&#10;&#10;Description automatically generated">
            <a:extLst>
              <a:ext uri="{FF2B5EF4-FFF2-40B4-BE49-F238E27FC236}">
                <a16:creationId xmlns:a16="http://schemas.microsoft.com/office/drawing/2014/main" id="{B1925993-1EF9-4234-7D77-046FB1C5C701}"/>
              </a:ext>
            </a:extLst>
          </p:cNvPr>
          <p:cNvPicPr>
            <a:picLocks noChangeAspect="1"/>
          </p:cNvPicPr>
          <p:nvPr userDrawn="1"/>
        </p:nvPicPr>
        <p:blipFill rotWithShape="1">
          <a:blip r:embed="rId2"/>
          <a:srcRect l="5005" t="17990" r="4954" b="39003"/>
          <a:stretch/>
        </p:blipFill>
        <p:spPr>
          <a:xfrm>
            <a:off x="5762487" y="6473190"/>
            <a:ext cx="2377440" cy="329679"/>
          </a:xfrm>
          <a:prstGeom prst="rect">
            <a:avLst/>
          </a:prstGeom>
        </p:spPr>
      </p:pic>
      <p:pic>
        <p:nvPicPr>
          <p:cNvPr id="9" name="Picture 8" descr="Shape, rectangle&#10;&#10;Description automatically generated">
            <a:extLst>
              <a:ext uri="{FF2B5EF4-FFF2-40B4-BE49-F238E27FC236}">
                <a16:creationId xmlns:a16="http://schemas.microsoft.com/office/drawing/2014/main" id="{33354EE0-410D-40F7-8A11-5965934BBA87}"/>
              </a:ext>
            </a:extLst>
          </p:cNvPr>
          <p:cNvPicPr>
            <a:picLocks noChangeAspect="1"/>
          </p:cNvPicPr>
          <p:nvPr userDrawn="1"/>
        </p:nvPicPr>
        <p:blipFill rotWithShape="1">
          <a:blip r:embed="rId3"/>
          <a:srcRect l="-4357" t="-109" r="39759" b="81895"/>
          <a:stretch/>
        </p:blipFill>
        <p:spPr>
          <a:xfrm>
            <a:off x="8158320" y="6347232"/>
            <a:ext cx="4033680" cy="510768"/>
          </a:xfrm>
          <a:prstGeom prst="rect">
            <a:avLst/>
          </a:prstGeom>
        </p:spPr>
      </p:pic>
      <p:pic>
        <p:nvPicPr>
          <p:cNvPr id="11" name="Picture 10" descr="Text&#10;&#10;Description automatically generated">
            <a:extLst>
              <a:ext uri="{FF2B5EF4-FFF2-40B4-BE49-F238E27FC236}">
                <a16:creationId xmlns:a16="http://schemas.microsoft.com/office/drawing/2014/main" id="{8D1EB592-03BA-5329-CE3C-94EC149779FA}"/>
              </a:ext>
            </a:extLst>
          </p:cNvPr>
          <p:cNvPicPr>
            <a:picLocks noChangeAspect="1"/>
          </p:cNvPicPr>
          <p:nvPr userDrawn="1"/>
        </p:nvPicPr>
        <p:blipFill rotWithShape="1">
          <a:blip r:embed="rId2"/>
          <a:srcRect l="16907" t="62319" r="16782" b="19130"/>
          <a:stretch/>
        </p:blipFill>
        <p:spPr>
          <a:xfrm>
            <a:off x="8810739" y="6480696"/>
            <a:ext cx="3002285" cy="243840"/>
          </a:xfrm>
          <a:prstGeom prst="rect">
            <a:avLst/>
          </a:prstGeom>
        </p:spPr>
      </p:pic>
      <p:sp>
        <p:nvSpPr>
          <p:cNvPr id="2" name="Title 1"/>
          <p:cNvSpPr>
            <a:spLocks noGrp="1"/>
          </p:cNvSpPr>
          <p:nvPr>
            <p:ph type="title" hasCustomPrompt="1"/>
          </p:nvPr>
        </p:nvSpPr>
        <p:spPr>
          <a:xfrm>
            <a:off x="852361" y="863628"/>
            <a:ext cx="10767801"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 across top of slide</a:t>
            </a:r>
          </a:p>
        </p:txBody>
      </p:sp>
      <p:sp>
        <p:nvSpPr>
          <p:cNvPr id="10" name="Rectangle 9">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idx="1" hasCustomPrompt="1"/>
          </p:nvPr>
        </p:nvSpPr>
        <p:spPr>
          <a:xfrm>
            <a:off x="2524716" y="2600007"/>
            <a:ext cx="7142569" cy="3589988"/>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b="0" i="1" baseline="0">
                <a:solidFill>
                  <a:srgbClr val="003B5C"/>
                </a:solidFill>
                <a:latin typeface="Verdana" charset="0"/>
                <a:ea typeface="Verdana" charset="0"/>
                <a:cs typeface="Verdana" charset="0"/>
              </a:defRPr>
            </a:lvl1pPr>
            <a:lvl2pPr>
              <a:defRPr sz="2800" b="1" i="0">
                <a:latin typeface="Verdana" charset="0"/>
                <a:ea typeface="Verdana" charset="0"/>
                <a:cs typeface="Verdana" charset="0"/>
              </a:defRPr>
            </a:lvl2pPr>
            <a:lvl3pPr>
              <a:defRPr sz="2400" b="1" i="0">
                <a:latin typeface="Verdana" charset="0"/>
                <a:ea typeface="Verdana" charset="0"/>
                <a:cs typeface="Verdana" charset="0"/>
              </a:defRPr>
            </a:lvl3pPr>
            <a:lvl4pPr>
              <a:defRPr sz="2000" b="1" i="0">
                <a:latin typeface="Verdana" charset="0"/>
                <a:ea typeface="Verdana" charset="0"/>
                <a:cs typeface="Verdana" charset="0"/>
              </a:defRPr>
            </a:lvl4pPr>
            <a:lvl5pPr>
              <a:defRPr sz="2000" b="1" i="0">
                <a:latin typeface="Verdana" charset="0"/>
                <a:ea typeface="Verdana" charset="0"/>
                <a:cs typeface="Verdana" charset="0"/>
              </a:defRPr>
            </a:lvl5pPr>
            <a:lvl6pPr>
              <a:defRPr sz="2000"/>
            </a:lvl6pPr>
            <a:lvl7pPr>
              <a:defRPr sz="2000"/>
            </a:lvl7pPr>
            <a:lvl8pPr>
              <a:defRPr sz="2000"/>
            </a:lvl8pPr>
            <a:lvl9pPr>
              <a:defRPr sz="20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Insert Graph Here.</a:t>
            </a:r>
          </a:p>
          <a:p>
            <a:pPr lvl="0"/>
            <a:endParaRPr lang="en-US"/>
          </a:p>
        </p:txBody>
      </p:sp>
      <p:sp>
        <p:nvSpPr>
          <p:cNvPr id="4" name="Text Placeholder 3"/>
          <p:cNvSpPr>
            <a:spLocks noGrp="1"/>
          </p:cNvSpPr>
          <p:nvPr>
            <p:ph type="body" sz="half" idx="2" hasCustomPrompt="1"/>
          </p:nvPr>
        </p:nvSpPr>
        <p:spPr>
          <a:xfrm>
            <a:off x="852361" y="1620758"/>
            <a:ext cx="10767801" cy="860701"/>
          </a:xfrm>
          <a:prstGeom prst="rect">
            <a:avLst/>
          </a:prstGeom>
        </p:spPr>
        <p:txBody>
          <a:bodyPr/>
          <a:lstStyle>
            <a:lvl1pPr marL="0" indent="0">
              <a:buNone/>
              <a:defRPr sz="2133" b="0" i="0" baseline="0">
                <a:solidFill>
                  <a:schemeClr val="tx1"/>
                </a:solidFill>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opy goes here.</a:t>
            </a:r>
          </a:p>
        </p:txBody>
      </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wo Section | Call Out and Cop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05F464-2F05-A945-5A1A-B8D50CC2F1CC}"/>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4" name="Picture 3" descr="Text&#10;&#10;Description automatically generated">
            <a:extLst>
              <a:ext uri="{FF2B5EF4-FFF2-40B4-BE49-F238E27FC236}">
                <a16:creationId xmlns:a16="http://schemas.microsoft.com/office/drawing/2014/main" id="{660F6459-D9FA-6FDF-F512-B7297C9A4B8D}"/>
              </a:ext>
            </a:extLst>
          </p:cNvPr>
          <p:cNvPicPr>
            <a:picLocks noChangeAspect="1"/>
          </p:cNvPicPr>
          <p:nvPr userDrawn="1"/>
        </p:nvPicPr>
        <p:blipFill rotWithShape="1">
          <a:blip r:embed="rId2"/>
          <a:srcRect l="5005" t="17990" r="4954" b="39003"/>
          <a:stretch/>
        </p:blipFill>
        <p:spPr>
          <a:xfrm>
            <a:off x="5762487" y="6473190"/>
            <a:ext cx="2377440" cy="329679"/>
          </a:xfrm>
          <a:prstGeom prst="rect">
            <a:avLst/>
          </a:prstGeom>
        </p:spPr>
      </p:pic>
      <p:pic>
        <p:nvPicPr>
          <p:cNvPr id="6" name="Picture 5" descr="Shape, rectangle&#10;&#10;Description automatically generated">
            <a:extLst>
              <a:ext uri="{FF2B5EF4-FFF2-40B4-BE49-F238E27FC236}">
                <a16:creationId xmlns:a16="http://schemas.microsoft.com/office/drawing/2014/main" id="{7CC8A3E5-948B-84F0-A33F-92ED9063DF6F}"/>
              </a:ext>
            </a:extLst>
          </p:cNvPr>
          <p:cNvPicPr>
            <a:picLocks noChangeAspect="1"/>
          </p:cNvPicPr>
          <p:nvPr userDrawn="1"/>
        </p:nvPicPr>
        <p:blipFill rotWithShape="1">
          <a:blip r:embed="rId3"/>
          <a:srcRect l="-4357" t="-109" r="39759" b="81895"/>
          <a:stretch/>
        </p:blipFill>
        <p:spPr>
          <a:xfrm>
            <a:off x="8158320" y="6347232"/>
            <a:ext cx="4033680" cy="510768"/>
          </a:xfrm>
          <a:prstGeom prst="rect">
            <a:avLst/>
          </a:prstGeom>
        </p:spPr>
      </p:pic>
      <p:pic>
        <p:nvPicPr>
          <p:cNvPr id="7" name="Picture 6" descr="Text&#10;&#10;Description automatically generated">
            <a:extLst>
              <a:ext uri="{FF2B5EF4-FFF2-40B4-BE49-F238E27FC236}">
                <a16:creationId xmlns:a16="http://schemas.microsoft.com/office/drawing/2014/main" id="{8442C607-3E36-A9B7-6086-5AC63C3DFE0B}"/>
              </a:ext>
            </a:extLst>
          </p:cNvPr>
          <p:cNvPicPr>
            <a:picLocks noChangeAspect="1"/>
          </p:cNvPicPr>
          <p:nvPr userDrawn="1"/>
        </p:nvPicPr>
        <p:blipFill rotWithShape="1">
          <a:blip r:embed="rId2"/>
          <a:srcRect l="16907" t="62319" r="16782" b="19130"/>
          <a:stretch/>
        </p:blipFill>
        <p:spPr>
          <a:xfrm>
            <a:off x="8810739" y="6480696"/>
            <a:ext cx="3002285" cy="243840"/>
          </a:xfrm>
          <a:prstGeom prst="rect">
            <a:avLst/>
          </a:prstGeom>
        </p:spPr>
      </p:pic>
      <p:sp>
        <p:nvSpPr>
          <p:cNvPr id="5" name="Text Placeholder 4"/>
          <p:cNvSpPr>
            <a:spLocks noGrp="1"/>
          </p:cNvSpPr>
          <p:nvPr>
            <p:ph type="body" sz="quarter" idx="3" hasCustomPrompt="1"/>
          </p:nvPr>
        </p:nvSpPr>
        <p:spPr>
          <a:xfrm>
            <a:off x="6566049" y="2101540"/>
            <a:ext cx="4789339" cy="1939313"/>
          </a:xfrm>
          <a:prstGeom prst="rect">
            <a:avLst/>
          </a:prstGeom>
        </p:spPr>
        <p:txBody>
          <a:bodyPr anchor="t" anchorCtr="0">
            <a:spAutoFit/>
          </a:bodyPr>
          <a:lstStyle>
            <a:lvl1pPr marL="0" indent="0">
              <a:buNone/>
              <a:defRPr sz="2133" b="0" i="0" baseline="0">
                <a:latin typeface="Verdana" charset="0"/>
                <a:ea typeface="Verdana" charset="0"/>
                <a:cs typeface="Verdana"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opy goes here. </a:t>
            </a:r>
            <a:r>
              <a:rPr lang="en-US" sz="1867" err="1">
                <a:latin typeface="Verdana" panose="020B0604030504040204" pitchFamily="34" charset="0"/>
                <a:ea typeface="Verdana" panose="020B0604030504040204" pitchFamily="34" charset="0"/>
                <a:cs typeface="Verdana" panose="020B0604030504040204" pitchFamily="34" charset="0"/>
              </a:rPr>
              <a:t>Volorati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e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perrum</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repuda</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peligni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nis</a:t>
            </a:r>
            <a:r>
              <a:rPr lang="en-US" sz="1867">
                <a:latin typeface="Verdana" panose="020B0604030504040204" pitchFamily="34" charset="0"/>
                <a:ea typeface="Verdana" panose="020B0604030504040204" pitchFamily="34" charset="0"/>
                <a:cs typeface="Verdana" panose="020B0604030504040204" pitchFamily="34" charset="0"/>
              </a:rPr>
              <a:t> pro </a:t>
            </a:r>
            <a:r>
              <a:rPr lang="en-US" sz="1867" err="1">
                <a:latin typeface="Verdana" panose="020B0604030504040204" pitchFamily="34" charset="0"/>
                <a:ea typeface="Verdana" panose="020B0604030504040204" pitchFamily="34" charset="0"/>
                <a:cs typeface="Verdana" panose="020B0604030504040204" pitchFamily="34" charset="0"/>
              </a:rPr>
              <a:t>consequos</a:t>
            </a:r>
            <a:r>
              <a:rPr lang="en-US" sz="1867">
                <a:latin typeface="Verdana" panose="020B0604030504040204" pitchFamily="34" charset="0"/>
                <a:ea typeface="Verdana" panose="020B0604030504040204" pitchFamily="34" charset="0"/>
                <a:cs typeface="Verdana" panose="020B0604030504040204" pitchFamily="34" charset="0"/>
              </a:rPr>
              <a:t> et </a:t>
            </a:r>
            <a:r>
              <a:rPr lang="en-US" sz="1867" err="1">
                <a:latin typeface="Verdana" panose="020B0604030504040204" pitchFamily="34" charset="0"/>
                <a:ea typeface="Verdana" panose="020B0604030504040204" pitchFamily="34" charset="0"/>
                <a:cs typeface="Verdana" panose="020B0604030504040204" pitchFamily="34" charset="0"/>
              </a:rPr>
              <a:t>exped</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qua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doluptae</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niendi</a:t>
            </a:r>
            <a:r>
              <a:rPr lang="en-US" sz="1867">
                <a:latin typeface="Verdana" panose="020B0604030504040204" pitchFamily="34" charset="0"/>
                <a:ea typeface="Verdana" panose="020B0604030504040204" pitchFamily="34" charset="0"/>
                <a:cs typeface="Verdana" panose="020B0604030504040204" pitchFamily="34" charset="0"/>
              </a:rPr>
              <a:t> con </a:t>
            </a:r>
            <a:r>
              <a:rPr lang="en-US" sz="1867" err="1">
                <a:latin typeface="Verdana" panose="020B0604030504040204" pitchFamily="34" charset="0"/>
                <a:ea typeface="Verdana" panose="020B0604030504040204" pitchFamily="34" charset="0"/>
                <a:cs typeface="Verdana" panose="020B0604030504040204" pitchFamily="34" charset="0"/>
              </a:rPr>
              <a:t>plibusd</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andero</a:t>
            </a:r>
            <a:r>
              <a:rPr lang="en-US" sz="1867">
                <a:latin typeface="Verdana" panose="020B0604030504040204" pitchFamily="34" charset="0"/>
                <a:ea typeface="Verdana" panose="020B0604030504040204" pitchFamily="34" charset="0"/>
                <a:cs typeface="Verdana" panose="020B0604030504040204" pitchFamily="34" charset="0"/>
              </a:rPr>
              <a:t> et, </a:t>
            </a:r>
            <a:r>
              <a:rPr lang="en-US" sz="1867" err="1">
                <a:latin typeface="Verdana" panose="020B0604030504040204" pitchFamily="34" charset="0"/>
                <a:ea typeface="Verdana" panose="020B0604030504040204" pitchFamily="34" charset="0"/>
                <a:cs typeface="Verdana" panose="020B0604030504040204" pitchFamily="34" charset="0"/>
              </a:rPr>
              <a:t>es</a:t>
            </a:r>
            <a:r>
              <a:rPr lang="en-US" sz="1867">
                <a:latin typeface="Verdana" panose="020B0604030504040204" pitchFamily="34" charset="0"/>
                <a:ea typeface="Verdana" panose="020B0604030504040204" pitchFamily="34" charset="0"/>
                <a:cs typeface="Verdana" panose="020B0604030504040204" pitchFamily="34" charset="0"/>
              </a:rPr>
              <a:t> ex </a:t>
            </a:r>
            <a:r>
              <a:rPr lang="en-US" sz="1867" err="1">
                <a:latin typeface="Verdana" panose="020B0604030504040204" pitchFamily="34" charset="0"/>
                <a:ea typeface="Verdana" panose="020B0604030504040204" pitchFamily="34" charset="0"/>
                <a:cs typeface="Verdana" panose="020B0604030504040204" pitchFamily="34" charset="0"/>
              </a:rPr>
              <a:t>eatu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endu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dolupti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adi</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denisit</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dolupis</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soleser</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ovidiorum</a:t>
            </a:r>
            <a:r>
              <a:rPr lang="en-US" sz="1867">
                <a:latin typeface="Verdana" panose="020B0604030504040204" pitchFamily="34" charset="0"/>
                <a:ea typeface="Verdana" panose="020B0604030504040204" pitchFamily="34" charset="0"/>
                <a:cs typeface="Verdana" panose="020B0604030504040204" pitchFamily="34" charset="0"/>
              </a:rPr>
              <a:t> qui </a:t>
            </a:r>
            <a:r>
              <a:rPr lang="en-US" sz="1867" err="1">
                <a:latin typeface="Verdana" panose="020B0604030504040204" pitchFamily="34" charset="0"/>
                <a:ea typeface="Verdana" panose="020B0604030504040204" pitchFamily="34" charset="0"/>
                <a:cs typeface="Verdana" panose="020B0604030504040204" pitchFamily="34" charset="0"/>
              </a:rPr>
              <a:t>oditae</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rerit</a:t>
            </a:r>
            <a:r>
              <a:rPr lang="en-US" sz="1867">
                <a:latin typeface="Verdana" panose="020B0604030504040204" pitchFamily="34" charset="0"/>
                <a:ea typeface="Verdana" panose="020B0604030504040204" pitchFamily="34" charset="0"/>
                <a:cs typeface="Verdana" panose="020B0604030504040204" pitchFamily="34" charset="0"/>
              </a:rPr>
              <a:t> </a:t>
            </a:r>
            <a:r>
              <a:rPr lang="en-US" sz="1867" err="1">
                <a:latin typeface="Verdana" panose="020B0604030504040204" pitchFamily="34" charset="0"/>
                <a:ea typeface="Verdana" panose="020B0604030504040204" pitchFamily="34" charset="0"/>
                <a:cs typeface="Verdana" panose="020B0604030504040204" pitchFamily="34" charset="0"/>
              </a:rPr>
              <a:t>quatat</a:t>
            </a:r>
            <a:endParaRPr lang="en-US"/>
          </a:p>
        </p:txBody>
      </p:sp>
      <p:sp>
        <p:nvSpPr>
          <p:cNvPr id="13" name="Rectangle 12">
            <a:extLst>
              <a:ext uri="{FF2B5EF4-FFF2-40B4-BE49-F238E27FC236}">
                <a16:creationId xmlns:a16="http://schemas.microsoft.com/office/drawing/2014/main" id="{A999B04B-69FA-9748-A64D-1E52D36BD989}"/>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cxnSp>
        <p:nvCxnSpPr>
          <p:cNvPr id="14" name="Straight Connector 13">
            <a:extLst>
              <a:ext uri="{FF2B5EF4-FFF2-40B4-BE49-F238E27FC236}">
                <a16:creationId xmlns:a16="http://schemas.microsoft.com/office/drawing/2014/main" id="{F7E0F112-B547-4041-A25D-59D26F57744E}"/>
              </a:ext>
            </a:extLst>
          </p:cNvPr>
          <p:cNvCxnSpPr/>
          <p:nvPr/>
        </p:nvCxnSpPr>
        <p:spPr>
          <a:xfrm>
            <a:off x="6059849" y="838200"/>
            <a:ext cx="0" cy="4728117"/>
          </a:xfrm>
          <a:prstGeom prst="line">
            <a:avLst/>
          </a:prstGeom>
          <a:ln w="22225">
            <a:solidFill>
              <a:srgbClr val="A4D65E"/>
            </a:solidFill>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C13B7327-FD28-414B-B0BF-5F096B2B312F}"/>
              </a:ext>
            </a:extLst>
          </p:cNvPr>
          <p:cNvSpPr>
            <a:spLocks noGrp="1"/>
          </p:cNvSpPr>
          <p:nvPr>
            <p:ph type="title" hasCustomPrompt="1"/>
          </p:nvPr>
        </p:nvSpPr>
        <p:spPr>
          <a:xfrm>
            <a:off x="858691" y="2179616"/>
            <a:ext cx="4479151" cy="1785104"/>
          </a:xfrm>
          <a:prstGeom prst="rect">
            <a:avLst/>
          </a:prstGeom>
        </p:spPr>
        <p:txBody>
          <a:bodyPr>
            <a:spAutoFit/>
          </a:bodyPr>
          <a:lstStyle>
            <a:lvl1pPr>
              <a:defRPr sz="4000" b="1">
                <a:solidFill>
                  <a:srgbClr val="003B5C"/>
                </a:solidFill>
                <a:latin typeface="Verdana" panose="020B0604030504040204" pitchFamily="34" charset="0"/>
                <a:ea typeface="Verdana" panose="020B0604030504040204" pitchFamily="34" charset="0"/>
                <a:cs typeface="Verdana" panose="020B0604030504040204" pitchFamily="34" charset="0"/>
              </a:defRPr>
            </a:lvl1pPr>
          </a:lstStyle>
          <a:p>
            <a:r>
              <a:rPr lang="en-US"/>
              <a:t>Callout or Headline goes in this space.</a:t>
            </a: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42.xml><?xml version="1.0" encoding="utf-8"?>
<p:sldLayout xmlns:a="http://schemas.openxmlformats.org/drawingml/2006/main" xmlns:r="http://schemas.openxmlformats.org/officeDocument/2006/relationships" xmlns:p="http://schemas.openxmlformats.org/presentationml/2006/main" type="picTx" preserve="1">
  <p:cSld name="Caption with Half-Page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1E061C3-B25B-F487-D790-BFE98E7AB420}"/>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descr="Text&#10;&#10;Description automatically generated">
            <a:extLst>
              <a:ext uri="{FF2B5EF4-FFF2-40B4-BE49-F238E27FC236}">
                <a16:creationId xmlns:a16="http://schemas.microsoft.com/office/drawing/2014/main" id="{CBCCDA5B-AF95-CFC4-CA5E-ADC1F918B268}"/>
              </a:ext>
            </a:extLst>
          </p:cNvPr>
          <p:cNvPicPr>
            <a:picLocks noChangeAspect="1"/>
          </p:cNvPicPr>
          <p:nvPr userDrawn="1"/>
        </p:nvPicPr>
        <p:blipFill rotWithShape="1">
          <a:blip r:embed="rId2"/>
          <a:srcRect l="5005" t="17990" r="4954" b="39003"/>
          <a:stretch/>
        </p:blipFill>
        <p:spPr>
          <a:xfrm>
            <a:off x="5762487" y="6473190"/>
            <a:ext cx="2377440" cy="329679"/>
          </a:xfrm>
          <a:prstGeom prst="rect">
            <a:avLst/>
          </a:prstGeom>
        </p:spPr>
      </p:pic>
      <p:pic>
        <p:nvPicPr>
          <p:cNvPr id="13" name="Picture 12" descr="Shape, rectangle&#10;&#10;Description automatically generated">
            <a:extLst>
              <a:ext uri="{FF2B5EF4-FFF2-40B4-BE49-F238E27FC236}">
                <a16:creationId xmlns:a16="http://schemas.microsoft.com/office/drawing/2014/main" id="{152FC7F8-DC0E-81BA-6CB5-335627A86C1E}"/>
              </a:ext>
            </a:extLst>
          </p:cNvPr>
          <p:cNvPicPr>
            <a:picLocks noChangeAspect="1"/>
          </p:cNvPicPr>
          <p:nvPr userDrawn="1"/>
        </p:nvPicPr>
        <p:blipFill rotWithShape="1">
          <a:blip r:embed="rId3"/>
          <a:srcRect l="-4357" t="-109" r="39759" b="81895"/>
          <a:stretch/>
        </p:blipFill>
        <p:spPr>
          <a:xfrm>
            <a:off x="8158320" y="6347232"/>
            <a:ext cx="4033680" cy="510768"/>
          </a:xfrm>
          <a:prstGeom prst="rect">
            <a:avLst/>
          </a:prstGeom>
        </p:spPr>
      </p:pic>
      <p:pic>
        <p:nvPicPr>
          <p:cNvPr id="14" name="Picture 13" descr="Text&#10;&#10;Description automatically generated">
            <a:extLst>
              <a:ext uri="{FF2B5EF4-FFF2-40B4-BE49-F238E27FC236}">
                <a16:creationId xmlns:a16="http://schemas.microsoft.com/office/drawing/2014/main" id="{0CD0D956-8D98-E4E3-B43F-7E6A9E083EBC}"/>
              </a:ext>
            </a:extLst>
          </p:cNvPr>
          <p:cNvPicPr>
            <a:picLocks noChangeAspect="1"/>
          </p:cNvPicPr>
          <p:nvPr userDrawn="1"/>
        </p:nvPicPr>
        <p:blipFill rotWithShape="1">
          <a:blip r:embed="rId2"/>
          <a:srcRect l="16907" t="62319" r="16782" b="19130"/>
          <a:stretch/>
        </p:blipFill>
        <p:spPr>
          <a:xfrm>
            <a:off x="8810739" y="6480696"/>
            <a:ext cx="3002285" cy="243840"/>
          </a:xfrm>
          <a:prstGeom prst="rect">
            <a:avLst/>
          </a:prstGeom>
        </p:spPr>
      </p:pic>
      <p:sp>
        <p:nvSpPr>
          <p:cNvPr id="2" name="Title 1"/>
          <p:cNvSpPr>
            <a:spLocks noGrp="1"/>
          </p:cNvSpPr>
          <p:nvPr>
            <p:ph type="title" hasCustomPrompt="1"/>
          </p:nvPr>
        </p:nvSpPr>
        <p:spPr>
          <a:xfrm>
            <a:off x="1129800" y="823154"/>
            <a:ext cx="4369301" cy="1497215"/>
          </a:xfrm>
          <a:prstGeom prst="rect">
            <a:avLst/>
          </a:prstGeom>
        </p:spPr>
        <p:txBody>
          <a:bodyPr anchor="b"/>
          <a:lstStyle>
            <a:lvl1pPr>
              <a:defRPr sz="4800" b="1" i="0">
                <a:solidFill>
                  <a:srgbClr val="003B5C"/>
                </a:solidFill>
                <a:latin typeface="Verdana" charset="0"/>
                <a:ea typeface="Verdana" charset="0"/>
                <a:cs typeface="Verdana" charset="0"/>
              </a:defRPr>
            </a:lvl1pPr>
          </a:lstStyle>
          <a:p>
            <a:r>
              <a:rPr lang="en-US"/>
              <a:t>Headline</a:t>
            </a:r>
          </a:p>
        </p:txBody>
      </p:sp>
      <p:sp>
        <p:nvSpPr>
          <p:cNvPr id="3" name="Picture Placeholder 2"/>
          <p:cNvSpPr>
            <a:spLocks noGrp="1" noChangeAspect="1"/>
          </p:cNvSpPr>
          <p:nvPr>
            <p:ph type="pic" idx="1" hasCustomPrompt="1"/>
          </p:nvPr>
        </p:nvSpPr>
        <p:spPr>
          <a:xfrm>
            <a:off x="6516786" y="1"/>
            <a:ext cx="5675213" cy="6292393"/>
          </a:xfrm>
          <a:prstGeom prst="rect">
            <a:avLst/>
          </a:prstGeom>
        </p:spPr>
        <p:txBody>
          <a:bodyPr anchor="t"/>
          <a:lstStyle>
            <a:lvl1pPr marL="0" indent="0">
              <a:buNone/>
              <a:defRPr sz="1200" i="1">
                <a:solidFill>
                  <a:srgbClr val="003B5C"/>
                </a:solidFill>
                <a:latin typeface="Verdana" charset="0"/>
                <a:ea typeface="Verdana" charset="0"/>
                <a:cs typeface="Verdana"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p:cNvSpPr>
            <a:spLocks noGrp="1"/>
          </p:cNvSpPr>
          <p:nvPr>
            <p:ph type="body" sz="half" idx="2" hasCustomPrompt="1"/>
          </p:nvPr>
        </p:nvSpPr>
        <p:spPr>
          <a:xfrm>
            <a:off x="1129798" y="2320369"/>
            <a:ext cx="4369303" cy="3437697"/>
          </a:xfrm>
          <a:prstGeom prst="rect">
            <a:avLst/>
          </a:prstGeom>
        </p:spPr>
        <p:txBody>
          <a:bodyPr/>
          <a:lstStyle>
            <a:lvl1pPr marL="0" indent="0">
              <a:buNone/>
              <a:defRPr sz="1867" b="0" i="0" baseline="0">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opy goes here.</a:t>
            </a:r>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Full Image with Caption_Yale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E5D80FD-93FD-AFF4-1FDE-50021C79BEAB}"/>
              </a:ext>
            </a:extLst>
          </p:cNvPr>
          <p:cNvSpPr/>
          <p:nvPr userDrawn="1"/>
        </p:nvSpPr>
        <p:spPr>
          <a:xfrm>
            <a:off x="0" y="6321760"/>
            <a:ext cx="12192000" cy="544883"/>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5" name="Picture 4" descr="Text&#10;&#10;Description automatically generated">
            <a:extLst>
              <a:ext uri="{FF2B5EF4-FFF2-40B4-BE49-F238E27FC236}">
                <a16:creationId xmlns:a16="http://schemas.microsoft.com/office/drawing/2014/main" id="{14ED21DC-B5E6-29BD-4409-DA9F6AEDB1D3}"/>
              </a:ext>
            </a:extLst>
          </p:cNvPr>
          <p:cNvPicPr>
            <a:picLocks noChangeAspect="1"/>
          </p:cNvPicPr>
          <p:nvPr userDrawn="1"/>
        </p:nvPicPr>
        <p:blipFill rotWithShape="1">
          <a:blip r:embed="rId2"/>
          <a:srcRect l="5005" t="17990" r="4954" b="39003"/>
          <a:stretch/>
        </p:blipFill>
        <p:spPr>
          <a:xfrm>
            <a:off x="5762487" y="6473190"/>
            <a:ext cx="2377440" cy="329679"/>
          </a:xfrm>
          <a:prstGeom prst="rect">
            <a:avLst/>
          </a:prstGeom>
        </p:spPr>
      </p:pic>
      <p:pic>
        <p:nvPicPr>
          <p:cNvPr id="6" name="Picture 5" descr="Shape, rectangle&#10;&#10;Description automatically generated">
            <a:extLst>
              <a:ext uri="{FF2B5EF4-FFF2-40B4-BE49-F238E27FC236}">
                <a16:creationId xmlns:a16="http://schemas.microsoft.com/office/drawing/2014/main" id="{F1B369C5-E646-AD1B-A588-F455D47A2D43}"/>
              </a:ext>
            </a:extLst>
          </p:cNvPr>
          <p:cNvPicPr>
            <a:picLocks noChangeAspect="1"/>
          </p:cNvPicPr>
          <p:nvPr userDrawn="1"/>
        </p:nvPicPr>
        <p:blipFill rotWithShape="1">
          <a:blip r:embed="rId3"/>
          <a:srcRect l="-4357" t="-109" r="39759" b="81895"/>
          <a:stretch/>
        </p:blipFill>
        <p:spPr>
          <a:xfrm>
            <a:off x="8158320" y="6347232"/>
            <a:ext cx="4033680" cy="510768"/>
          </a:xfrm>
          <a:prstGeom prst="rect">
            <a:avLst/>
          </a:prstGeom>
        </p:spPr>
      </p:pic>
      <p:pic>
        <p:nvPicPr>
          <p:cNvPr id="7" name="Picture 6" descr="Text&#10;&#10;Description automatically generated">
            <a:extLst>
              <a:ext uri="{FF2B5EF4-FFF2-40B4-BE49-F238E27FC236}">
                <a16:creationId xmlns:a16="http://schemas.microsoft.com/office/drawing/2014/main" id="{945A2991-7E9B-284F-92B5-0EB07AF3B603}"/>
              </a:ext>
            </a:extLst>
          </p:cNvPr>
          <p:cNvPicPr>
            <a:picLocks noChangeAspect="1"/>
          </p:cNvPicPr>
          <p:nvPr userDrawn="1"/>
        </p:nvPicPr>
        <p:blipFill rotWithShape="1">
          <a:blip r:embed="rId2"/>
          <a:srcRect l="16907" t="62319" r="16782" b="19130"/>
          <a:stretch/>
        </p:blipFill>
        <p:spPr>
          <a:xfrm>
            <a:off x="8810739" y="6480696"/>
            <a:ext cx="3002285" cy="243840"/>
          </a:xfrm>
          <a:prstGeom prst="rect">
            <a:avLst/>
          </a:prstGeom>
        </p:spPr>
      </p:pic>
      <p:sp>
        <p:nvSpPr>
          <p:cNvPr id="3" name="Picture Placeholder 2"/>
          <p:cNvSpPr>
            <a:spLocks noGrp="1" noChangeAspect="1"/>
          </p:cNvSpPr>
          <p:nvPr>
            <p:ph type="pic" idx="1" hasCustomPrompt="1"/>
          </p:nvPr>
        </p:nvSpPr>
        <p:spPr>
          <a:xfrm>
            <a:off x="1" y="1"/>
            <a:ext cx="12191999" cy="6292393"/>
          </a:xfrm>
          <a:prstGeom prst="rect">
            <a:avLst/>
          </a:prstGeom>
        </p:spPr>
        <p:txBody>
          <a:bodyPr anchor="ctr"/>
          <a:lstStyle>
            <a:lvl1pPr marL="0" indent="0" algn="ctr">
              <a:buNone/>
              <a:defRPr sz="1200" i="1">
                <a:solidFill>
                  <a:srgbClr val="003B5C"/>
                </a:solidFill>
                <a:latin typeface="Verdana" charset="0"/>
                <a:ea typeface="Verdana" charset="0"/>
                <a:cs typeface="Verdana"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	*Click to add full-size image</a:t>
            </a:r>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Title_Section Divider_Yale Blu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Title 7"/>
          <p:cNvSpPr>
            <a:spLocks noGrp="1"/>
          </p:cNvSpPr>
          <p:nvPr>
            <p:ph type="title" hasCustomPrompt="1"/>
          </p:nvPr>
        </p:nvSpPr>
        <p:spPr>
          <a:xfrm>
            <a:off x="838200" y="2656483"/>
            <a:ext cx="10515600" cy="757130"/>
          </a:xfrm>
          <a:prstGeom prst="rect">
            <a:avLst/>
          </a:prstGeom>
        </p:spPr>
        <p:txBody>
          <a:bodyPr anchor="ctr" anchorCtr="0">
            <a:spAutoFit/>
          </a:bodyPr>
          <a:lstStyle>
            <a:lvl1pPr algn="ctr">
              <a:defRPr sz="4800" b="1">
                <a:solidFill>
                  <a:schemeClr val="bg1"/>
                </a:solidFill>
                <a:latin typeface="Verdana" charset="0"/>
                <a:ea typeface="Verdana" charset="0"/>
                <a:cs typeface="Verdana" charset="0"/>
              </a:defRPr>
            </a:lvl1pPr>
          </a:lstStyle>
          <a:p>
            <a:r>
              <a:rPr lang="en-US"/>
              <a:t>Click to add title.</a:t>
            </a:r>
          </a:p>
        </p:txBody>
      </p:sp>
      <p:pic>
        <p:nvPicPr>
          <p:cNvPr id="9" name="Picture 8" descr="Shape&#10;&#10;Description automatically generated">
            <a:extLst>
              <a:ext uri="{FF2B5EF4-FFF2-40B4-BE49-F238E27FC236}">
                <a16:creationId xmlns:a16="http://schemas.microsoft.com/office/drawing/2014/main" id="{3E5A8FE6-6641-46FB-10EA-2999CBEB4FF9}"/>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1" r="40189" b="81812"/>
          <a:stretch/>
        </p:blipFill>
        <p:spPr>
          <a:xfrm>
            <a:off x="8446593" y="6347233"/>
            <a:ext cx="3745331" cy="511457"/>
          </a:xfrm>
          <a:prstGeom prst="rect">
            <a:avLst/>
          </a:prstGeom>
        </p:spPr>
      </p:pic>
      <p:pic>
        <p:nvPicPr>
          <p:cNvPr id="10" name="Picture 9" descr="Text&#10;&#10;Description automatically generated">
            <a:extLst>
              <a:ext uri="{FF2B5EF4-FFF2-40B4-BE49-F238E27FC236}">
                <a16:creationId xmlns:a16="http://schemas.microsoft.com/office/drawing/2014/main" id="{DB70A984-1F47-EF7A-DC77-7A586983C7FA}"/>
              </a:ext>
            </a:extLst>
          </p:cNvPr>
          <p:cNvPicPr>
            <a:picLocks noChangeAspect="1"/>
          </p:cNvPicPr>
          <p:nvPr userDrawn="1"/>
        </p:nvPicPr>
        <p:blipFill rotWithShape="1">
          <a:blip r:embed="rId4"/>
          <a:srcRect l="16907" t="62319" r="16782" b="19130"/>
          <a:stretch/>
        </p:blipFill>
        <p:spPr>
          <a:xfrm>
            <a:off x="8810739" y="6480696"/>
            <a:ext cx="3002285" cy="243840"/>
          </a:xfrm>
          <a:prstGeom prst="rect">
            <a:avLst/>
          </a:prstGeom>
        </p:spPr>
      </p:pic>
      <p:pic>
        <p:nvPicPr>
          <p:cNvPr id="12" name="Picture 11" descr="Text&#10;&#10;Description automatically generated">
            <a:extLst>
              <a:ext uri="{FF2B5EF4-FFF2-40B4-BE49-F238E27FC236}">
                <a16:creationId xmlns:a16="http://schemas.microsoft.com/office/drawing/2014/main" id="{3723795B-4F01-86B8-DD58-AF24AAB5CC1E}"/>
              </a:ext>
            </a:extLst>
          </p:cNvPr>
          <p:cNvPicPr>
            <a:picLocks noChangeAspect="1"/>
          </p:cNvPicPr>
          <p:nvPr userDrawn="1"/>
        </p:nvPicPr>
        <p:blipFill rotWithShape="1">
          <a:blip r:embed="rId4"/>
          <a:srcRect l="5005" t="17990" r="4954" b="39003"/>
          <a:stretch/>
        </p:blipFill>
        <p:spPr>
          <a:xfrm>
            <a:off x="5762487" y="6473190"/>
            <a:ext cx="2377440" cy="329679"/>
          </a:xfrm>
          <a:prstGeom prst="rect">
            <a:avLst/>
          </a:prstGeom>
        </p:spPr>
      </p:pic>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Title_Section Divider_Dark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8" name="Title 7"/>
          <p:cNvSpPr>
            <a:spLocks noGrp="1"/>
          </p:cNvSpPr>
          <p:nvPr>
            <p:ph type="title" hasCustomPrompt="1"/>
          </p:nvPr>
        </p:nvSpPr>
        <p:spPr>
          <a:xfrm>
            <a:off x="838200" y="2656483"/>
            <a:ext cx="10515600" cy="757130"/>
          </a:xfrm>
          <a:prstGeom prst="rect">
            <a:avLst/>
          </a:prstGeom>
        </p:spPr>
        <p:txBody>
          <a:bodyPr anchor="ctr" anchorCtr="0">
            <a:spAutoFit/>
          </a:bodyPr>
          <a:lstStyle>
            <a:lvl1pPr algn="ctr">
              <a:defRPr sz="4800" b="1">
                <a:solidFill>
                  <a:schemeClr val="bg1"/>
                </a:solidFill>
                <a:latin typeface="Verdana" charset="0"/>
                <a:ea typeface="Verdana" charset="0"/>
                <a:cs typeface="Verdana" charset="0"/>
              </a:defRPr>
            </a:lvl1pPr>
          </a:lstStyle>
          <a:p>
            <a:r>
              <a:rPr lang="en-US"/>
              <a:t>Click to add title.</a:t>
            </a:r>
          </a:p>
        </p:txBody>
      </p:sp>
      <p:pic>
        <p:nvPicPr>
          <p:cNvPr id="3" name="Picture 2" descr="Shape, rectangle&#10;&#10;Description automatically generated">
            <a:extLst>
              <a:ext uri="{FF2B5EF4-FFF2-40B4-BE49-F238E27FC236}">
                <a16:creationId xmlns:a16="http://schemas.microsoft.com/office/drawing/2014/main" id="{572F09F9-C07A-1DF7-A3BA-CFAC284F3489}"/>
              </a:ext>
            </a:extLst>
          </p:cNvPr>
          <p:cNvPicPr>
            <a:picLocks noChangeAspect="1"/>
          </p:cNvPicPr>
          <p:nvPr userDrawn="1"/>
        </p:nvPicPr>
        <p:blipFill rotWithShape="1">
          <a:blip r:embed="rId2"/>
          <a:srcRect l="-4357" t="-109" r="39759" b="81895"/>
          <a:stretch/>
        </p:blipFill>
        <p:spPr>
          <a:xfrm>
            <a:off x="8158320" y="6347232"/>
            <a:ext cx="4033680" cy="510768"/>
          </a:xfrm>
          <a:prstGeom prst="rect">
            <a:avLst/>
          </a:prstGeom>
        </p:spPr>
      </p:pic>
      <p:pic>
        <p:nvPicPr>
          <p:cNvPr id="4" name="Picture 3" descr="Text&#10;&#10;Description automatically generated">
            <a:extLst>
              <a:ext uri="{FF2B5EF4-FFF2-40B4-BE49-F238E27FC236}">
                <a16:creationId xmlns:a16="http://schemas.microsoft.com/office/drawing/2014/main" id="{22D329BD-DF7B-D3A0-527E-362D194E65A3}"/>
              </a:ext>
            </a:extLst>
          </p:cNvPr>
          <p:cNvPicPr>
            <a:picLocks noChangeAspect="1"/>
          </p:cNvPicPr>
          <p:nvPr userDrawn="1"/>
        </p:nvPicPr>
        <p:blipFill rotWithShape="1">
          <a:blip r:embed="rId3"/>
          <a:srcRect l="16907" t="62319" r="16782" b="19130"/>
          <a:stretch/>
        </p:blipFill>
        <p:spPr>
          <a:xfrm>
            <a:off x="8810739" y="6480696"/>
            <a:ext cx="3002285" cy="243840"/>
          </a:xfrm>
          <a:prstGeom prst="rect">
            <a:avLst/>
          </a:prstGeom>
        </p:spPr>
      </p:pic>
      <p:pic>
        <p:nvPicPr>
          <p:cNvPr id="7" name="Picture 6" descr="Text&#10;&#10;Description automatically generated">
            <a:extLst>
              <a:ext uri="{FF2B5EF4-FFF2-40B4-BE49-F238E27FC236}">
                <a16:creationId xmlns:a16="http://schemas.microsoft.com/office/drawing/2014/main" id="{B434E0F5-1315-EB02-DAF0-415C6045C791}"/>
              </a:ext>
            </a:extLst>
          </p:cNvPr>
          <p:cNvPicPr>
            <a:picLocks noChangeAspect="1"/>
          </p:cNvPicPr>
          <p:nvPr userDrawn="1"/>
        </p:nvPicPr>
        <p:blipFill rotWithShape="1">
          <a:blip r:embed="rId3"/>
          <a:srcRect l="5005" t="17990" r="4954" b="39003"/>
          <a:stretch/>
        </p:blipFill>
        <p:spPr>
          <a:xfrm>
            <a:off x="5762487" y="6473190"/>
            <a:ext cx="2377440" cy="329679"/>
          </a:xfrm>
          <a:prstGeom prst="rect">
            <a:avLst/>
          </a:prstGeom>
        </p:spPr>
      </p:pic>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Two Section | Call Out and Copy_Yal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solidFill>
                <a:srgbClr val="00314C"/>
              </a:solidFill>
            </a:endParaRPr>
          </a:p>
        </p:txBody>
      </p:sp>
      <p:sp>
        <p:nvSpPr>
          <p:cNvPr id="8" name="Title 7"/>
          <p:cNvSpPr>
            <a:spLocks noGrp="1"/>
          </p:cNvSpPr>
          <p:nvPr>
            <p:ph type="title" hasCustomPrompt="1"/>
          </p:nvPr>
        </p:nvSpPr>
        <p:spPr>
          <a:xfrm>
            <a:off x="492411" y="2591848"/>
            <a:ext cx="3186767" cy="1674304"/>
          </a:xfrm>
          <a:prstGeom prst="rect">
            <a:avLst/>
          </a:prstGeom>
        </p:spPr>
        <p:txBody>
          <a:bodyPr wrap="square" anchor="ctr" anchorCtr="0">
            <a:spAutoFit/>
          </a:bodyPr>
          <a:lstStyle>
            <a:lvl1pPr algn="l">
              <a:defRPr sz="3733" b="1" baseline="0">
                <a:solidFill>
                  <a:schemeClr val="bg1"/>
                </a:solidFill>
                <a:latin typeface="Verdana" charset="0"/>
                <a:ea typeface="Verdana" charset="0"/>
                <a:cs typeface="Verdana" charset="0"/>
              </a:defRPr>
            </a:lvl1pPr>
          </a:lstStyle>
          <a:p>
            <a:r>
              <a:rPr lang="en-US"/>
              <a:t>Call out or title option page.</a:t>
            </a:r>
          </a:p>
        </p:txBody>
      </p:sp>
      <p:sp>
        <p:nvSpPr>
          <p:cNvPr id="12" name="Text Placeholder 11"/>
          <p:cNvSpPr>
            <a:spLocks noGrp="1"/>
          </p:cNvSpPr>
          <p:nvPr>
            <p:ph type="body" sz="quarter" idx="10" hasCustomPrompt="1"/>
          </p:nvPr>
        </p:nvSpPr>
        <p:spPr>
          <a:xfrm>
            <a:off x="4140273" y="1713284"/>
            <a:ext cx="7166999" cy="646331"/>
          </a:xfrm>
          <a:prstGeom prst="rect">
            <a:avLst/>
          </a:prstGeom>
        </p:spPr>
        <p:txBody>
          <a:bodyPr wrap="square" anchor="b" anchorCtr="0">
            <a:spAutoFit/>
          </a:bodyPr>
          <a:lstStyle>
            <a:lvl1pPr marL="0" indent="0">
              <a:buNone/>
              <a:defRPr sz="4000" b="1" i="0" baseline="0">
                <a:solidFill>
                  <a:schemeClr val="bg1"/>
                </a:solidFill>
                <a:latin typeface="Verdana" charset="0"/>
                <a:ea typeface="Verdana" charset="0"/>
                <a:cs typeface="Verdana" charset="0"/>
              </a:defRPr>
            </a:lvl1pPr>
            <a:lvl2pPr>
              <a:defRPr b="1" i="0">
                <a:latin typeface="Verdana" charset="0"/>
                <a:ea typeface="Verdana" charset="0"/>
                <a:cs typeface="Verdana" charset="0"/>
              </a:defRPr>
            </a:lvl2pPr>
            <a:lvl3pPr>
              <a:defRPr b="1" i="0">
                <a:latin typeface="Verdana" charset="0"/>
                <a:ea typeface="Verdana" charset="0"/>
                <a:cs typeface="Verdana" charset="0"/>
              </a:defRPr>
            </a:lvl3pPr>
            <a:lvl4pPr>
              <a:defRPr b="1" i="0">
                <a:latin typeface="Verdana" charset="0"/>
                <a:ea typeface="Verdana" charset="0"/>
                <a:cs typeface="Verdana" charset="0"/>
              </a:defRPr>
            </a:lvl4pPr>
            <a:lvl5pPr>
              <a:defRPr b="1" i="0">
                <a:latin typeface="Verdana" charset="0"/>
                <a:ea typeface="Verdana" charset="0"/>
                <a:cs typeface="Verdana" charset="0"/>
              </a:defRPr>
            </a:lvl5pPr>
          </a:lstStyle>
          <a:p>
            <a:pPr lvl="0"/>
            <a:r>
              <a:rPr lang="en-US"/>
              <a:t>Insert title here.</a:t>
            </a:r>
          </a:p>
        </p:txBody>
      </p:sp>
      <p:sp>
        <p:nvSpPr>
          <p:cNvPr id="14" name="Text Placeholder 13"/>
          <p:cNvSpPr>
            <a:spLocks noGrp="1"/>
          </p:cNvSpPr>
          <p:nvPr>
            <p:ph type="body" sz="quarter" idx="11" hasCustomPrompt="1"/>
          </p:nvPr>
        </p:nvSpPr>
        <p:spPr>
          <a:xfrm>
            <a:off x="4140273" y="2637614"/>
            <a:ext cx="7166999" cy="2046817"/>
          </a:xfrm>
          <a:prstGeom prst="rect">
            <a:avLst/>
          </a:prstGeom>
        </p:spPr>
        <p:txBody>
          <a:bodyPr/>
          <a:lstStyle>
            <a:lvl1pPr marL="0" indent="0">
              <a:buNone/>
              <a:defRPr sz="2667" b="0" i="0" baseline="0">
                <a:solidFill>
                  <a:schemeClr val="bg1"/>
                </a:solidFill>
                <a:latin typeface="Verdana" charset="0"/>
                <a:ea typeface="Verdana" charset="0"/>
                <a:cs typeface="Verdana" charset="0"/>
              </a:defRPr>
            </a:lvl1pPr>
          </a:lstStyle>
          <a:p>
            <a:pPr lvl="0"/>
            <a:r>
              <a:rPr lang="en-US"/>
              <a:t>Body copy goes here.</a:t>
            </a:r>
          </a:p>
        </p:txBody>
      </p:sp>
      <p:cxnSp>
        <p:nvCxnSpPr>
          <p:cNvPr id="15" name="Straight Connector 14">
            <a:extLst>
              <a:ext uri="{FF2B5EF4-FFF2-40B4-BE49-F238E27FC236}">
                <a16:creationId xmlns:a16="http://schemas.microsoft.com/office/drawing/2014/main" id="{F7E0F112-B547-4041-A25D-59D26F57744E}"/>
              </a:ext>
            </a:extLst>
          </p:cNvPr>
          <p:cNvCxnSpPr/>
          <p:nvPr/>
        </p:nvCxnSpPr>
        <p:spPr>
          <a:xfrm>
            <a:off x="3860801" y="949082"/>
            <a:ext cx="1799" cy="46623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descr="Shape&#10;&#10;Description automatically generated">
            <a:extLst>
              <a:ext uri="{FF2B5EF4-FFF2-40B4-BE49-F238E27FC236}">
                <a16:creationId xmlns:a16="http://schemas.microsoft.com/office/drawing/2014/main" id="{4916892B-874D-8E4B-6623-B375EFCF198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1" r="40189" b="81812"/>
          <a:stretch/>
        </p:blipFill>
        <p:spPr>
          <a:xfrm>
            <a:off x="8446593" y="6347233"/>
            <a:ext cx="3745331" cy="511457"/>
          </a:xfrm>
          <a:prstGeom prst="rect">
            <a:avLst/>
          </a:prstGeom>
        </p:spPr>
      </p:pic>
      <p:pic>
        <p:nvPicPr>
          <p:cNvPr id="4" name="Picture 3" descr="Text&#10;&#10;Description automatically generated">
            <a:extLst>
              <a:ext uri="{FF2B5EF4-FFF2-40B4-BE49-F238E27FC236}">
                <a16:creationId xmlns:a16="http://schemas.microsoft.com/office/drawing/2014/main" id="{4C54487C-CB7A-E08D-8246-6831EEBFADC3}"/>
              </a:ext>
            </a:extLst>
          </p:cNvPr>
          <p:cNvPicPr>
            <a:picLocks noChangeAspect="1"/>
          </p:cNvPicPr>
          <p:nvPr userDrawn="1"/>
        </p:nvPicPr>
        <p:blipFill rotWithShape="1">
          <a:blip r:embed="rId4"/>
          <a:srcRect l="16907" t="62319" r="16782" b="19130"/>
          <a:stretch/>
        </p:blipFill>
        <p:spPr>
          <a:xfrm>
            <a:off x="8810739" y="6480696"/>
            <a:ext cx="3002285" cy="243840"/>
          </a:xfrm>
          <a:prstGeom prst="rect">
            <a:avLst/>
          </a:prstGeom>
        </p:spPr>
      </p:pic>
      <p:pic>
        <p:nvPicPr>
          <p:cNvPr id="6" name="Picture 5" descr="Text&#10;&#10;Description automatically generated">
            <a:extLst>
              <a:ext uri="{FF2B5EF4-FFF2-40B4-BE49-F238E27FC236}">
                <a16:creationId xmlns:a16="http://schemas.microsoft.com/office/drawing/2014/main" id="{C466DA22-AF51-C383-EFE0-20C1CDF8E9C7}"/>
              </a:ext>
            </a:extLst>
          </p:cNvPr>
          <p:cNvPicPr>
            <a:picLocks noChangeAspect="1"/>
          </p:cNvPicPr>
          <p:nvPr userDrawn="1"/>
        </p:nvPicPr>
        <p:blipFill rotWithShape="1">
          <a:blip r:embed="rId4"/>
          <a:srcRect l="5005" t="17990" r="4954" b="39003"/>
          <a:stretch/>
        </p:blipFill>
        <p:spPr>
          <a:xfrm>
            <a:off x="5762487" y="6473190"/>
            <a:ext cx="2377440" cy="329679"/>
          </a:xfrm>
          <a:prstGeom prst="rect">
            <a:avLst/>
          </a:prstGeom>
        </p:spPr>
      </p:pic>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Two Section | Call Out and Copy_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0" y="0"/>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8" name="Title 7"/>
          <p:cNvSpPr>
            <a:spLocks noGrp="1"/>
          </p:cNvSpPr>
          <p:nvPr>
            <p:ph type="title" hasCustomPrompt="1"/>
          </p:nvPr>
        </p:nvSpPr>
        <p:spPr>
          <a:xfrm>
            <a:off x="492411" y="2591848"/>
            <a:ext cx="3186767" cy="1674304"/>
          </a:xfrm>
          <a:prstGeom prst="rect">
            <a:avLst/>
          </a:prstGeom>
        </p:spPr>
        <p:txBody>
          <a:bodyPr wrap="square" anchor="ctr" anchorCtr="0">
            <a:spAutoFit/>
          </a:bodyPr>
          <a:lstStyle>
            <a:lvl1pPr algn="l">
              <a:defRPr sz="3733" b="1" baseline="0">
                <a:solidFill>
                  <a:schemeClr val="bg1"/>
                </a:solidFill>
                <a:latin typeface="Verdana" charset="0"/>
                <a:ea typeface="Verdana" charset="0"/>
                <a:cs typeface="Verdana" charset="0"/>
              </a:defRPr>
            </a:lvl1pPr>
          </a:lstStyle>
          <a:p>
            <a:r>
              <a:rPr lang="en-US"/>
              <a:t>Call out or title option page.</a:t>
            </a:r>
          </a:p>
        </p:txBody>
      </p:sp>
      <p:sp>
        <p:nvSpPr>
          <p:cNvPr id="12" name="Text Placeholder 11"/>
          <p:cNvSpPr>
            <a:spLocks noGrp="1"/>
          </p:cNvSpPr>
          <p:nvPr>
            <p:ph type="body" sz="quarter" idx="10" hasCustomPrompt="1"/>
          </p:nvPr>
        </p:nvSpPr>
        <p:spPr>
          <a:xfrm>
            <a:off x="4140273" y="1713284"/>
            <a:ext cx="7166999" cy="646331"/>
          </a:xfrm>
          <a:prstGeom prst="rect">
            <a:avLst/>
          </a:prstGeom>
        </p:spPr>
        <p:txBody>
          <a:bodyPr wrap="square" anchor="b" anchorCtr="0">
            <a:spAutoFit/>
          </a:bodyPr>
          <a:lstStyle>
            <a:lvl1pPr marL="0" indent="0">
              <a:buNone/>
              <a:defRPr sz="4000" b="1" i="0" baseline="0">
                <a:solidFill>
                  <a:schemeClr val="bg1"/>
                </a:solidFill>
                <a:latin typeface="Verdana" charset="0"/>
                <a:ea typeface="Verdana" charset="0"/>
                <a:cs typeface="Verdana" charset="0"/>
              </a:defRPr>
            </a:lvl1pPr>
            <a:lvl2pPr>
              <a:defRPr b="1" i="0">
                <a:latin typeface="Verdana" charset="0"/>
                <a:ea typeface="Verdana" charset="0"/>
                <a:cs typeface="Verdana" charset="0"/>
              </a:defRPr>
            </a:lvl2pPr>
            <a:lvl3pPr>
              <a:defRPr b="1" i="0">
                <a:latin typeface="Verdana" charset="0"/>
                <a:ea typeface="Verdana" charset="0"/>
                <a:cs typeface="Verdana" charset="0"/>
              </a:defRPr>
            </a:lvl3pPr>
            <a:lvl4pPr>
              <a:defRPr b="1" i="0">
                <a:latin typeface="Verdana" charset="0"/>
                <a:ea typeface="Verdana" charset="0"/>
                <a:cs typeface="Verdana" charset="0"/>
              </a:defRPr>
            </a:lvl4pPr>
            <a:lvl5pPr>
              <a:defRPr b="1" i="0">
                <a:latin typeface="Verdana" charset="0"/>
                <a:ea typeface="Verdana" charset="0"/>
                <a:cs typeface="Verdana" charset="0"/>
              </a:defRPr>
            </a:lvl5pPr>
          </a:lstStyle>
          <a:p>
            <a:pPr lvl="0"/>
            <a:r>
              <a:rPr lang="en-US"/>
              <a:t>Insert title here.</a:t>
            </a:r>
          </a:p>
        </p:txBody>
      </p:sp>
      <p:sp>
        <p:nvSpPr>
          <p:cNvPr id="14" name="Text Placeholder 13"/>
          <p:cNvSpPr>
            <a:spLocks noGrp="1"/>
          </p:cNvSpPr>
          <p:nvPr>
            <p:ph type="body" sz="quarter" idx="11" hasCustomPrompt="1"/>
          </p:nvPr>
        </p:nvSpPr>
        <p:spPr>
          <a:xfrm>
            <a:off x="4140273" y="2637614"/>
            <a:ext cx="7166999" cy="2046817"/>
          </a:xfrm>
          <a:prstGeom prst="rect">
            <a:avLst/>
          </a:prstGeom>
        </p:spPr>
        <p:txBody>
          <a:bodyPr/>
          <a:lstStyle>
            <a:lvl1pPr marL="0" indent="0">
              <a:buNone/>
              <a:defRPr sz="2667" b="0" i="0" baseline="0">
                <a:solidFill>
                  <a:schemeClr val="bg1"/>
                </a:solidFill>
                <a:latin typeface="Verdana" charset="0"/>
                <a:ea typeface="Verdana" charset="0"/>
                <a:cs typeface="Verdana" charset="0"/>
              </a:defRPr>
            </a:lvl1pPr>
          </a:lstStyle>
          <a:p>
            <a:pPr lvl="0"/>
            <a:r>
              <a:rPr lang="en-US"/>
              <a:t>Body copy goes here.</a:t>
            </a:r>
          </a:p>
        </p:txBody>
      </p:sp>
      <p:cxnSp>
        <p:nvCxnSpPr>
          <p:cNvPr id="15" name="Straight Connector 14">
            <a:extLst>
              <a:ext uri="{FF2B5EF4-FFF2-40B4-BE49-F238E27FC236}">
                <a16:creationId xmlns:a16="http://schemas.microsoft.com/office/drawing/2014/main" id="{F7E0F112-B547-4041-A25D-59D26F57744E}"/>
              </a:ext>
            </a:extLst>
          </p:cNvPr>
          <p:cNvCxnSpPr/>
          <p:nvPr/>
        </p:nvCxnSpPr>
        <p:spPr>
          <a:xfrm>
            <a:off x="3860801" y="949082"/>
            <a:ext cx="1799" cy="46623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Shape, rectangle&#10;&#10;Description automatically generated">
            <a:extLst>
              <a:ext uri="{FF2B5EF4-FFF2-40B4-BE49-F238E27FC236}">
                <a16:creationId xmlns:a16="http://schemas.microsoft.com/office/drawing/2014/main" id="{D20BA1BC-E83A-A385-E973-0BB272D8532D}"/>
              </a:ext>
            </a:extLst>
          </p:cNvPr>
          <p:cNvPicPr>
            <a:picLocks noChangeAspect="1"/>
          </p:cNvPicPr>
          <p:nvPr userDrawn="1"/>
        </p:nvPicPr>
        <p:blipFill rotWithShape="1">
          <a:blip r:embed="rId2"/>
          <a:srcRect l="-4357" t="-109" r="39759" b="81895"/>
          <a:stretch/>
        </p:blipFill>
        <p:spPr>
          <a:xfrm>
            <a:off x="8158320" y="6347232"/>
            <a:ext cx="4033680" cy="510768"/>
          </a:xfrm>
          <a:prstGeom prst="rect">
            <a:avLst/>
          </a:prstGeom>
        </p:spPr>
      </p:pic>
      <p:pic>
        <p:nvPicPr>
          <p:cNvPr id="9" name="Picture 8" descr="Text&#10;&#10;Description automatically generated">
            <a:extLst>
              <a:ext uri="{FF2B5EF4-FFF2-40B4-BE49-F238E27FC236}">
                <a16:creationId xmlns:a16="http://schemas.microsoft.com/office/drawing/2014/main" id="{DCECA287-81A5-357D-DBC9-865D7EF99E80}"/>
              </a:ext>
            </a:extLst>
          </p:cNvPr>
          <p:cNvPicPr>
            <a:picLocks noChangeAspect="1"/>
          </p:cNvPicPr>
          <p:nvPr userDrawn="1"/>
        </p:nvPicPr>
        <p:blipFill rotWithShape="1">
          <a:blip r:embed="rId3"/>
          <a:srcRect l="16907" t="62319" r="16782" b="19130"/>
          <a:stretch/>
        </p:blipFill>
        <p:spPr>
          <a:xfrm>
            <a:off x="8810739" y="6480696"/>
            <a:ext cx="3002285" cy="243840"/>
          </a:xfrm>
          <a:prstGeom prst="rect">
            <a:avLst/>
          </a:prstGeom>
        </p:spPr>
      </p:pic>
      <p:pic>
        <p:nvPicPr>
          <p:cNvPr id="10" name="Picture 9" descr="Text&#10;&#10;Description automatically generated">
            <a:extLst>
              <a:ext uri="{FF2B5EF4-FFF2-40B4-BE49-F238E27FC236}">
                <a16:creationId xmlns:a16="http://schemas.microsoft.com/office/drawing/2014/main" id="{898A158A-A24E-878B-5FC0-8EE10B42682A}"/>
              </a:ext>
            </a:extLst>
          </p:cNvPr>
          <p:cNvPicPr>
            <a:picLocks noChangeAspect="1"/>
          </p:cNvPicPr>
          <p:nvPr userDrawn="1"/>
        </p:nvPicPr>
        <p:blipFill rotWithShape="1">
          <a:blip r:embed="rId3"/>
          <a:srcRect l="5005" t="17990" r="4954" b="39003"/>
          <a:stretch/>
        </p:blipFill>
        <p:spPr>
          <a:xfrm>
            <a:off x="5762487" y="6473190"/>
            <a:ext cx="2377440" cy="329679"/>
          </a:xfrm>
          <a:prstGeom prst="rect">
            <a:avLst/>
          </a:prstGeom>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Section Divider_Quote or Statistic_Yale Blue">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Title 7"/>
          <p:cNvSpPr>
            <a:spLocks noGrp="1"/>
          </p:cNvSpPr>
          <p:nvPr>
            <p:ph type="title" hasCustomPrompt="1"/>
          </p:nvPr>
        </p:nvSpPr>
        <p:spPr>
          <a:xfrm>
            <a:off x="2133600" y="1863923"/>
            <a:ext cx="7924803" cy="2339101"/>
          </a:xfrm>
          <a:prstGeom prst="rect">
            <a:avLst/>
          </a:prstGeom>
        </p:spPr>
        <p:txBody>
          <a:bodyPr wrap="square" anchor="ctr" anchorCtr="0">
            <a:spAutoFit/>
          </a:bodyPr>
          <a:lstStyle>
            <a:lvl1pPr algn="ctr">
              <a:defRPr sz="5333" b="1" baseline="0">
                <a:solidFill>
                  <a:schemeClr val="bg1"/>
                </a:solidFill>
                <a:latin typeface="Verdana" charset="0"/>
                <a:ea typeface="Verdana" charset="0"/>
                <a:cs typeface="Verdana" charset="0"/>
              </a:defRPr>
            </a:lvl1pPr>
          </a:lstStyle>
          <a:p>
            <a:r>
              <a:rPr lang="en-US"/>
              <a:t>“Call out page for quotes or important statistics.”</a:t>
            </a:r>
          </a:p>
        </p:txBody>
      </p:sp>
      <p:pic>
        <p:nvPicPr>
          <p:cNvPr id="3" name="Picture 2" descr="Shape&#10;&#10;Description automatically generated">
            <a:extLst>
              <a:ext uri="{FF2B5EF4-FFF2-40B4-BE49-F238E27FC236}">
                <a16:creationId xmlns:a16="http://schemas.microsoft.com/office/drawing/2014/main" id="{C7CD7C24-AF78-EEF3-A03E-0A15E0B33BED}"/>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Lst>
          </a:blip>
          <a:srcRect l="1" r="40189" b="81812"/>
          <a:stretch/>
        </p:blipFill>
        <p:spPr>
          <a:xfrm>
            <a:off x="8446593" y="6347233"/>
            <a:ext cx="3745331" cy="511457"/>
          </a:xfrm>
          <a:prstGeom prst="rect">
            <a:avLst/>
          </a:prstGeom>
        </p:spPr>
      </p:pic>
      <p:pic>
        <p:nvPicPr>
          <p:cNvPr id="4" name="Picture 3" descr="Text&#10;&#10;Description automatically generated">
            <a:extLst>
              <a:ext uri="{FF2B5EF4-FFF2-40B4-BE49-F238E27FC236}">
                <a16:creationId xmlns:a16="http://schemas.microsoft.com/office/drawing/2014/main" id="{B8DBEC23-BEA3-4191-8616-DCE3C90C5068}"/>
              </a:ext>
            </a:extLst>
          </p:cNvPr>
          <p:cNvPicPr>
            <a:picLocks noChangeAspect="1"/>
          </p:cNvPicPr>
          <p:nvPr userDrawn="1"/>
        </p:nvPicPr>
        <p:blipFill rotWithShape="1">
          <a:blip r:embed="rId4"/>
          <a:srcRect l="16907" t="62319" r="16782" b="19130"/>
          <a:stretch/>
        </p:blipFill>
        <p:spPr>
          <a:xfrm>
            <a:off x="8810739" y="6480696"/>
            <a:ext cx="3002285" cy="243840"/>
          </a:xfrm>
          <a:prstGeom prst="rect">
            <a:avLst/>
          </a:prstGeom>
        </p:spPr>
      </p:pic>
      <p:pic>
        <p:nvPicPr>
          <p:cNvPr id="5" name="Picture 4" descr="Text&#10;&#10;Description automatically generated">
            <a:extLst>
              <a:ext uri="{FF2B5EF4-FFF2-40B4-BE49-F238E27FC236}">
                <a16:creationId xmlns:a16="http://schemas.microsoft.com/office/drawing/2014/main" id="{9A7EB37F-54A0-D1E6-7C4D-C6DAED0A737C}"/>
              </a:ext>
            </a:extLst>
          </p:cNvPr>
          <p:cNvPicPr>
            <a:picLocks noChangeAspect="1"/>
          </p:cNvPicPr>
          <p:nvPr userDrawn="1"/>
        </p:nvPicPr>
        <p:blipFill rotWithShape="1">
          <a:blip r:embed="rId4"/>
          <a:srcRect l="5005" t="17990" r="4954" b="39003"/>
          <a:stretch/>
        </p:blipFill>
        <p:spPr>
          <a:xfrm>
            <a:off x="5762487" y="6473190"/>
            <a:ext cx="2377440" cy="329679"/>
          </a:xfrm>
          <a:prstGeom prst="rect">
            <a:avLst/>
          </a:prstGeom>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Section Divider_Quote or Statistic_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0" y="0"/>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51"/>
          </a:p>
        </p:txBody>
      </p:sp>
      <p:sp>
        <p:nvSpPr>
          <p:cNvPr id="8" name="Title 7"/>
          <p:cNvSpPr>
            <a:spLocks noGrp="1"/>
          </p:cNvSpPr>
          <p:nvPr>
            <p:ph type="title" hasCustomPrompt="1"/>
          </p:nvPr>
        </p:nvSpPr>
        <p:spPr>
          <a:xfrm>
            <a:off x="2133600" y="1863923"/>
            <a:ext cx="7924803" cy="2339101"/>
          </a:xfrm>
          <a:prstGeom prst="rect">
            <a:avLst/>
          </a:prstGeom>
        </p:spPr>
        <p:txBody>
          <a:bodyPr wrap="square" anchor="ctr" anchorCtr="0">
            <a:spAutoFit/>
          </a:bodyPr>
          <a:lstStyle>
            <a:lvl1pPr algn="ctr">
              <a:defRPr sz="5333" b="1" baseline="0">
                <a:solidFill>
                  <a:schemeClr val="bg1"/>
                </a:solidFill>
                <a:latin typeface="Verdana" charset="0"/>
                <a:ea typeface="Verdana" charset="0"/>
                <a:cs typeface="Verdana" charset="0"/>
              </a:defRPr>
            </a:lvl1pPr>
          </a:lstStyle>
          <a:p>
            <a:r>
              <a:rPr lang="en-US"/>
              <a:t>“Call out page for quotes or important statistics.”</a:t>
            </a:r>
          </a:p>
        </p:txBody>
      </p:sp>
      <p:pic>
        <p:nvPicPr>
          <p:cNvPr id="3" name="Picture 2" descr="Shape, rectangle&#10;&#10;Description automatically generated">
            <a:extLst>
              <a:ext uri="{FF2B5EF4-FFF2-40B4-BE49-F238E27FC236}">
                <a16:creationId xmlns:a16="http://schemas.microsoft.com/office/drawing/2014/main" id="{A0BF8FA9-F8D7-95BF-C36E-451737B20BB9}"/>
              </a:ext>
            </a:extLst>
          </p:cNvPr>
          <p:cNvPicPr>
            <a:picLocks noChangeAspect="1"/>
          </p:cNvPicPr>
          <p:nvPr userDrawn="1"/>
        </p:nvPicPr>
        <p:blipFill rotWithShape="1">
          <a:blip r:embed="rId2"/>
          <a:srcRect l="-4357" t="-109" r="39759" b="81895"/>
          <a:stretch/>
        </p:blipFill>
        <p:spPr>
          <a:xfrm>
            <a:off x="8158320" y="6347232"/>
            <a:ext cx="4033680" cy="510768"/>
          </a:xfrm>
          <a:prstGeom prst="rect">
            <a:avLst/>
          </a:prstGeom>
        </p:spPr>
      </p:pic>
      <p:pic>
        <p:nvPicPr>
          <p:cNvPr id="4" name="Picture 3" descr="Text&#10;&#10;Description automatically generated">
            <a:extLst>
              <a:ext uri="{FF2B5EF4-FFF2-40B4-BE49-F238E27FC236}">
                <a16:creationId xmlns:a16="http://schemas.microsoft.com/office/drawing/2014/main" id="{17323AF6-F6E9-80CA-1EEE-63DDEF162132}"/>
              </a:ext>
            </a:extLst>
          </p:cNvPr>
          <p:cNvPicPr>
            <a:picLocks noChangeAspect="1"/>
          </p:cNvPicPr>
          <p:nvPr userDrawn="1"/>
        </p:nvPicPr>
        <p:blipFill rotWithShape="1">
          <a:blip r:embed="rId3"/>
          <a:srcRect l="16907" t="62319" r="16782" b="19130"/>
          <a:stretch/>
        </p:blipFill>
        <p:spPr>
          <a:xfrm>
            <a:off x="8810739" y="6480696"/>
            <a:ext cx="3002285" cy="243840"/>
          </a:xfrm>
          <a:prstGeom prst="rect">
            <a:avLst/>
          </a:prstGeom>
        </p:spPr>
      </p:pic>
      <p:pic>
        <p:nvPicPr>
          <p:cNvPr id="6" name="Picture 5" descr="Text&#10;&#10;Description automatically generated">
            <a:extLst>
              <a:ext uri="{FF2B5EF4-FFF2-40B4-BE49-F238E27FC236}">
                <a16:creationId xmlns:a16="http://schemas.microsoft.com/office/drawing/2014/main" id="{E7033D0B-50F9-97B2-EF59-93C1244610C3}"/>
              </a:ext>
            </a:extLst>
          </p:cNvPr>
          <p:cNvPicPr>
            <a:picLocks noChangeAspect="1"/>
          </p:cNvPicPr>
          <p:nvPr userDrawn="1"/>
        </p:nvPicPr>
        <p:blipFill rotWithShape="1">
          <a:blip r:embed="rId3"/>
          <a:srcRect l="5005" t="17990" r="4954" b="39003"/>
          <a:stretch/>
        </p:blipFill>
        <p:spPr>
          <a:xfrm>
            <a:off x="5762487" y="6473190"/>
            <a:ext cx="2377440" cy="329679"/>
          </a:xfrm>
          <a:prstGeom prst="rect">
            <a:avLst/>
          </a:prstGeom>
        </p:spPr>
      </p:pic>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28209093"/>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41895721"/>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50945933"/>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6454426"/>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4176988"/>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274158"/>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9450590"/>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60170285"/>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54233518"/>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937467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7650421"/>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5036169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021082958"/>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7457265"/>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8163883"/>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2513418"/>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892962"/>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8571526"/>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9578591"/>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84415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9740088"/>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89033383"/>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46986344"/>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77518103"/>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8973922"/>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702095"/>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3627656"/>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7361338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659365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592602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43853675"/>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9059137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75120313"/>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583322744"/>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6785826"/>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60709665"/>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2170486"/>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8054011"/>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9146748"/>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82151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4295443"/>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6725417"/>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125892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706835858"/>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247284"/>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31297655"/>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49331223"/>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38926360"/>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1052506"/>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8097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71255992"/>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6814815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264629"/>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809495511"/>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43326878"/>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63645115"/>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0156097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72851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2877466"/>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976124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94613300"/>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1486397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80148134"/>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3938121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6334838"/>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1035241"/>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36744636"/>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851931833"/>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1548207"/>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571257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1402215"/>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98702667"/>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1047618"/>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48618745"/>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53426515"/>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38365160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6589058"/>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4835623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19702091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314227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76493523"/>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9746977"/>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49147448"/>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9755493"/>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8818784"/>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0281077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861733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31459235"/>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28019514"/>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838856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13084593"/>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59414654"/>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78231635"/>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9888278"/>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70131532"/>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448545"/>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3192032"/>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273176852"/>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28603481"/>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7566591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010035"/>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83123461"/>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03347676"/>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9815613"/>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625182"/>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0557748"/>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2575510"/>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0124322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071486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4508303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02794182"/>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633344416"/>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72441514"/>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8774803"/>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415337032"/>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4915192"/>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860312919"/>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10826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01680684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16942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36780064"/>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9684298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0872573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48057764"/>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1920236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2111294430"/>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235267349"/>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224738559"/>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55777505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91699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6905542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128287"/>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19458670"/>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51458736"/>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42886732"/>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63226788"/>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57913737"/>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93722409"/>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56560158"/>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771691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4623770"/>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7062495"/>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0173424"/>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5958340"/>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77441258"/>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56950052"/>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81328320"/>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62089331"/>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8233011"/>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89889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7025023"/>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4727160"/>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7607619"/>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97330760"/>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0381294"/>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99945295"/>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312101296"/>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0718851"/>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805540729"/>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471472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54876209"/>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50503805"/>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4/1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0471766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4/1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1474016093"/>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56485989"/>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73683037"/>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6287675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10865727"/>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1680816"/>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81491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1621868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8321224"/>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414597"/>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71624484"/>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09666862"/>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79317435"/>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57003059"/>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39195020"/>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37943447"/>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04691663"/>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43208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8744841"/>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62696179"/>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687855"/>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9368146"/>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6230411"/>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58687163"/>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06396151"/>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59877601"/>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81381047"/>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241770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31848341"/>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52632218"/>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1524277"/>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1554775"/>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78018225"/>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41975200"/>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4398612"/>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81490136"/>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98469773"/>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358848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44145441"/>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51288329"/>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1739383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025408"/>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00406554"/>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2340521"/>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07484467"/>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66317240"/>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633391825"/>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962012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236671324"/>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69487188"/>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7823565"/>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5948859"/>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0033551"/>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8611420"/>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9219161"/>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7885718"/>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588457027"/>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786021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761396527"/>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4829665"/>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74438345"/>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52061710"/>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6158812"/>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82697134"/>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66445005"/>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13390455"/>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745362228"/>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627585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87789240"/>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63968112"/>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52605680"/>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77713894"/>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7244501"/>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93976810"/>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34956459"/>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9004113"/>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2000078"/>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238772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995480919"/>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6541560"/>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45151960"/>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33844555"/>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9014228"/>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8574310"/>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4629311"/>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4036668"/>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2226305"/>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119738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79156160"/>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6647805"/>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41219022"/>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0470201"/>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205898955"/>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31825586"/>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9579768"/>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20398890"/>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0351995"/>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75966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85468070"/>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2301319"/>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326089206"/>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3157534"/>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378942375"/>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70288844"/>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25773760"/>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24593404"/>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021331"/>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22972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7096290"/>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14207908"/>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41577495"/>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1527548"/>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52423521"/>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98611888"/>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572872840"/>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21005978"/>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9636797"/>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0956372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837360679"/>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5550435"/>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31915230"/>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75835841"/>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53091845"/>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06230126"/>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7350571"/>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cSld name="1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96330499"/>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4684801"/>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358284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416863824"/>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276830926"/>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cSld name="1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23611799"/>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602360953"/>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336729598"/>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40849454"/>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16663599"/>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64641993"/>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4189440"/>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cSld name="1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77484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74835035"/>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82229727"/>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98098222"/>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768117092"/>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49204345"/>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8005436"/>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115898"/>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79511409"/>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6348840"/>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6509824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9356693"/>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3347452"/>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79896185"/>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81567826"/>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37433587"/>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8076620"/>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2955620"/>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16313598"/>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3011851"/>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70023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53440450"/>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3238653143"/>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1385178"/>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4/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42779178"/>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58527718"/>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88966456"/>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99696127"/>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4/1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552602547"/>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4/1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3719964"/>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dirty="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dirty="0"/>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558344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1645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148523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72" Type="http://schemas.openxmlformats.org/officeDocument/2006/relationships/slideLayout" Target="../slideLayouts/slideLayout172.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theme" Target="../theme/theme1.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theme" Target="../theme/theme10.xml"/><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10" Type="http://schemas.openxmlformats.org/officeDocument/2006/relationships/slideLayout" Target="../slideLayouts/slideLayout273.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83.xml"/><Relationship Id="rId7" Type="http://schemas.openxmlformats.org/officeDocument/2006/relationships/theme" Target="../theme/theme11.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5" Type="http://schemas.openxmlformats.org/officeDocument/2006/relationships/slideLayout" Target="../slideLayouts/slideLayout285.xml"/><Relationship Id="rId4" Type="http://schemas.openxmlformats.org/officeDocument/2006/relationships/slideLayout" Target="../slideLayouts/slideLayout28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18" Type="http://schemas.openxmlformats.org/officeDocument/2006/relationships/theme" Target="../theme/theme12.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17" Type="http://schemas.openxmlformats.org/officeDocument/2006/relationships/slideLayout" Target="../slideLayouts/slideLayout303.xml"/><Relationship Id="rId2" Type="http://schemas.openxmlformats.org/officeDocument/2006/relationships/slideLayout" Target="../slideLayouts/slideLayout288.xml"/><Relationship Id="rId16" Type="http://schemas.openxmlformats.org/officeDocument/2006/relationships/slideLayout" Target="../slideLayouts/slideLayout302.xml"/><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slideLayout" Target="../slideLayouts/slideLayout301.xml"/><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slideLayout" Target="../slideLayouts/slideLayout30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image" Target="../media/image42.jpeg"/><Relationship Id="rId3" Type="http://schemas.openxmlformats.org/officeDocument/2006/relationships/slideLayout" Target="../slideLayouts/slideLayout306.xml"/><Relationship Id="rId7" Type="http://schemas.openxmlformats.org/officeDocument/2006/relationships/slideLayout" Target="../slideLayouts/slideLayout310.xml"/><Relationship Id="rId12" Type="http://schemas.openxmlformats.org/officeDocument/2006/relationships/theme" Target="../theme/theme13.xml"/><Relationship Id="rId2" Type="http://schemas.openxmlformats.org/officeDocument/2006/relationships/slideLayout" Target="../slideLayouts/slideLayout305.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5" Type="http://schemas.openxmlformats.org/officeDocument/2006/relationships/slideLayout" Target="../slideLayouts/slideLayout308.xml"/><Relationship Id="rId10" Type="http://schemas.openxmlformats.org/officeDocument/2006/relationships/slideLayout" Target="../slideLayouts/slideLayout313.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image" Target="../media/image4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image" Target="../media/image42.jpeg"/><Relationship Id="rId3" Type="http://schemas.openxmlformats.org/officeDocument/2006/relationships/slideLayout" Target="../slideLayouts/slideLayout317.xml"/><Relationship Id="rId7" Type="http://schemas.openxmlformats.org/officeDocument/2006/relationships/slideLayout" Target="../slideLayouts/slideLayout321.xml"/><Relationship Id="rId12" Type="http://schemas.openxmlformats.org/officeDocument/2006/relationships/theme" Target="../theme/theme14.xml"/><Relationship Id="rId2" Type="http://schemas.openxmlformats.org/officeDocument/2006/relationships/slideLayout" Target="../slideLayouts/slideLayout316.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5" Type="http://schemas.openxmlformats.org/officeDocument/2006/relationships/slideLayout" Target="../slideLayouts/slideLayout319.xml"/><Relationship Id="rId10" Type="http://schemas.openxmlformats.org/officeDocument/2006/relationships/slideLayout" Target="../slideLayouts/slideLayout324.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image" Target="../media/image4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image" Target="../media/image42.jpeg"/><Relationship Id="rId3" Type="http://schemas.openxmlformats.org/officeDocument/2006/relationships/slideLayout" Target="../slideLayouts/slideLayout328.xml"/><Relationship Id="rId7" Type="http://schemas.openxmlformats.org/officeDocument/2006/relationships/slideLayout" Target="../slideLayouts/slideLayout332.xml"/><Relationship Id="rId12" Type="http://schemas.openxmlformats.org/officeDocument/2006/relationships/theme" Target="../theme/theme15.xml"/><Relationship Id="rId2" Type="http://schemas.openxmlformats.org/officeDocument/2006/relationships/slideLayout" Target="../slideLayouts/slideLayout327.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5" Type="http://schemas.openxmlformats.org/officeDocument/2006/relationships/slideLayout" Target="../slideLayouts/slideLayout330.xml"/><Relationship Id="rId10" Type="http://schemas.openxmlformats.org/officeDocument/2006/relationships/slideLayout" Target="../slideLayouts/slideLayout335.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image" Target="../media/image4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image" Target="../media/image42.jpeg"/><Relationship Id="rId3" Type="http://schemas.openxmlformats.org/officeDocument/2006/relationships/slideLayout" Target="../slideLayouts/slideLayout339.xml"/><Relationship Id="rId7" Type="http://schemas.openxmlformats.org/officeDocument/2006/relationships/slideLayout" Target="../slideLayouts/slideLayout343.xml"/><Relationship Id="rId12" Type="http://schemas.openxmlformats.org/officeDocument/2006/relationships/theme" Target="../theme/theme16.xml"/><Relationship Id="rId2" Type="http://schemas.openxmlformats.org/officeDocument/2006/relationships/slideLayout" Target="../slideLayouts/slideLayout338.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0" Type="http://schemas.openxmlformats.org/officeDocument/2006/relationships/slideLayout" Target="../slideLayouts/slideLayout346.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image" Target="../media/image4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55.xml"/><Relationship Id="rId13" Type="http://schemas.openxmlformats.org/officeDocument/2006/relationships/image" Target="../media/image42.jpeg"/><Relationship Id="rId3" Type="http://schemas.openxmlformats.org/officeDocument/2006/relationships/slideLayout" Target="../slideLayouts/slideLayout350.xml"/><Relationship Id="rId7" Type="http://schemas.openxmlformats.org/officeDocument/2006/relationships/slideLayout" Target="../slideLayouts/slideLayout354.xml"/><Relationship Id="rId12" Type="http://schemas.openxmlformats.org/officeDocument/2006/relationships/theme" Target="../theme/theme17.xml"/><Relationship Id="rId2" Type="http://schemas.openxmlformats.org/officeDocument/2006/relationships/slideLayout" Target="../slideLayouts/slideLayout349.xml"/><Relationship Id="rId1" Type="http://schemas.openxmlformats.org/officeDocument/2006/relationships/slideLayout" Target="../slideLayouts/slideLayout348.xml"/><Relationship Id="rId6" Type="http://schemas.openxmlformats.org/officeDocument/2006/relationships/slideLayout" Target="../slideLayouts/slideLayout353.xml"/><Relationship Id="rId11" Type="http://schemas.openxmlformats.org/officeDocument/2006/relationships/slideLayout" Target="../slideLayouts/slideLayout358.xml"/><Relationship Id="rId5" Type="http://schemas.openxmlformats.org/officeDocument/2006/relationships/slideLayout" Target="../slideLayouts/slideLayout352.xml"/><Relationship Id="rId10" Type="http://schemas.openxmlformats.org/officeDocument/2006/relationships/slideLayout" Target="../slideLayouts/slideLayout357.xml"/><Relationship Id="rId4" Type="http://schemas.openxmlformats.org/officeDocument/2006/relationships/slideLayout" Target="../slideLayouts/slideLayout351.xml"/><Relationship Id="rId9" Type="http://schemas.openxmlformats.org/officeDocument/2006/relationships/slideLayout" Target="../slideLayouts/slideLayout356.xml"/><Relationship Id="rId14" Type="http://schemas.openxmlformats.org/officeDocument/2006/relationships/image" Target="../media/image43.jpeg"/></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360.xml"/><Relationship Id="rId1" Type="http://schemas.openxmlformats.org/officeDocument/2006/relationships/slideLayout" Target="../slideLayouts/slideLayout359.xml"/><Relationship Id="rId5" Type="http://schemas.openxmlformats.org/officeDocument/2006/relationships/image" Target="../media/image42.jpeg"/><Relationship Id="rId4" Type="http://schemas.openxmlformats.org/officeDocument/2006/relationships/image" Target="../media/image43.jpeg"/></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theme" Target="../theme/theme19.xml"/><Relationship Id="rId1" Type="http://schemas.openxmlformats.org/officeDocument/2006/relationships/slideLayout" Target="../slideLayouts/slideLayout361.xml"/><Relationship Id="rId4" Type="http://schemas.openxmlformats.org/officeDocument/2006/relationships/image" Target="../media/image50.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slideLayout" Target="../slideLayouts/slideLayout186.xml"/><Relationship Id="rId18" Type="http://schemas.openxmlformats.org/officeDocument/2006/relationships/slideLayout" Target="../slideLayouts/slideLayout191.xml"/><Relationship Id="rId26" Type="http://schemas.openxmlformats.org/officeDocument/2006/relationships/slideLayout" Target="../slideLayouts/slideLayout199.xml"/><Relationship Id="rId3" Type="http://schemas.openxmlformats.org/officeDocument/2006/relationships/slideLayout" Target="../slideLayouts/slideLayout176.xml"/><Relationship Id="rId21" Type="http://schemas.openxmlformats.org/officeDocument/2006/relationships/slideLayout" Target="../slideLayouts/slideLayout194.xml"/><Relationship Id="rId7" Type="http://schemas.openxmlformats.org/officeDocument/2006/relationships/slideLayout" Target="../slideLayouts/slideLayout180.xml"/><Relationship Id="rId12" Type="http://schemas.openxmlformats.org/officeDocument/2006/relationships/slideLayout" Target="../slideLayouts/slideLayout185.xml"/><Relationship Id="rId17" Type="http://schemas.openxmlformats.org/officeDocument/2006/relationships/slideLayout" Target="../slideLayouts/slideLayout190.xml"/><Relationship Id="rId25" Type="http://schemas.openxmlformats.org/officeDocument/2006/relationships/slideLayout" Target="../slideLayouts/slideLayout198.xml"/><Relationship Id="rId2" Type="http://schemas.openxmlformats.org/officeDocument/2006/relationships/slideLayout" Target="../slideLayouts/slideLayout175.xml"/><Relationship Id="rId16" Type="http://schemas.openxmlformats.org/officeDocument/2006/relationships/slideLayout" Target="../slideLayouts/slideLayout189.xml"/><Relationship Id="rId20" Type="http://schemas.openxmlformats.org/officeDocument/2006/relationships/slideLayout" Target="../slideLayouts/slideLayout193.xml"/><Relationship Id="rId29" Type="http://schemas.openxmlformats.org/officeDocument/2006/relationships/slideLayout" Target="../slideLayouts/slideLayout202.xml"/><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slideLayout" Target="../slideLayouts/slideLayout184.xml"/><Relationship Id="rId24" Type="http://schemas.openxmlformats.org/officeDocument/2006/relationships/slideLayout" Target="../slideLayouts/slideLayout197.xml"/><Relationship Id="rId5" Type="http://schemas.openxmlformats.org/officeDocument/2006/relationships/slideLayout" Target="../slideLayouts/slideLayout178.xml"/><Relationship Id="rId15" Type="http://schemas.openxmlformats.org/officeDocument/2006/relationships/slideLayout" Target="../slideLayouts/slideLayout188.xml"/><Relationship Id="rId23" Type="http://schemas.openxmlformats.org/officeDocument/2006/relationships/slideLayout" Target="../slideLayouts/slideLayout196.xml"/><Relationship Id="rId28" Type="http://schemas.openxmlformats.org/officeDocument/2006/relationships/slideLayout" Target="../slideLayouts/slideLayout201.xml"/><Relationship Id="rId10" Type="http://schemas.openxmlformats.org/officeDocument/2006/relationships/slideLayout" Target="../slideLayouts/slideLayout183.xml"/><Relationship Id="rId19" Type="http://schemas.openxmlformats.org/officeDocument/2006/relationships/slideLayout" Target="../slideLayouts/slideLayout192.xml"/><Relationship Id="rId31" Type="http://schemas.openxmlformats.org/officeDocument/2006/relationships/theme" Target="../theme/theme2.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slideLayout" Target="../slideLayouts/slideLayout187.xml"/><Relationship Id="rId22" Type="http://schemas.openxmlformats.org/officeDocument/2006/relationships/slideLayout" Target="../slideLayouts/slideLayout195.xml"/><Relationship Id="rId27" Type="http://schemas.openxmlformats.org/officeDocument/2006/relationships/slideLayout" Target="../slideLayouts/slideLayout200.xml"/><Relationship Id="rId30" Type="http://schemas.openxmlformats.org/officeDocument/2006/relationships/slideLayout" Target="../slideLayouts/slideLayout203.xml"/></Relationships>
</file>

<file path=ppt/slideMasters/_rels/slideMaster20.xml.rels><?xml version="1.0" encoding="UTF-8" standalone="yes"?>
<Relationships xmlns="http://schemas.openxmlformats.org/package/2006/relationships"><Relationship Id="rId117" Type="http://schemas.openxmlformats.org/officeDocument/2006/relationships/slideLayout" Target="../slideLayouts/slideLayout478.xml"/><Relationship Id="rId21" Type="http://schemas.openxmlformats.org/officeDocument/2006/relationships/slideLayout" Target="../slideLayouts/slideLayout382.xml"/><Relationship Id="rId42" Type="http://schemas.openxmlformats.org/officeDocument/2006/relationships/slideLayout" Target="../slideLayouts/slideLayout403.xml"/><Relationship Id="rId63" Type="http://schemas.openxmlformats.org/officeDocument/2006/relationships/slideLayout" Target="../slideLayouts/slideLayout424.xml"/><Relationship Id="rId84" Type="http://schemas.openxmlformats.org/officeDocument/2006/relationships/slideLayout" Target="../slideLayouts/slideLayout445.xml"/><Relationship Id="rId138" Type="http://schemas.openxmlformats.org/officeDocument/2006/relationships/slideLayout" Target="../slideLayouts/slideLayout499.xml"/><Relationship Id="rId159" Type="http://schemas.openxmlformats.org/officeDocument/2006/relationships/slideLayout" Target="../slideLayouts/slideLayout520.xml"/><Relationship Id="rId107" Type="http://schemas.openxmlformats.org/officeDocument/2006/relationships/slideLayout" Target="../slideLayouts/slideLayout468.xml"/><Relationship Id="rId11" Type="http://schemas.openxmlformats.org/officeDocument/2006/relationships/slideLayout" Target="../slideLayouts/slideLayout372.xml"/><Relationship Id="rId32" Type="http://schemas.openxmlformats.org/officeDocument/2006/relationships/slideLayout" Target="../slideLayouts/slideLayout393.xml"/><Relationship Id="rId53" Type="http://schemas.openxmlformats.org/officeDocument/2006/relationships/slideLayout" Target="../slideLayouts/slideLayout414.xml"/><Relationship Id="rId74" Type="http://schemas.openxmlformats.org/officeDocument/2006/relationships/slideLayout" Target="../slideLayouts/slideLayout435.xml"/><Relationship Id="rId128" Type="http://schemas.openxmlformats.org/officeDocument/2006/relationships/slideLayout" Target="../slideLayouts/slideLayout489.xml"/><Relationship Id="rId149" Type="http://schemas.openxmlformats.org/officeDocument/2006/relationships/slideLayout" Target="../slideLayouts/slideLayout510.xml"/><Relationship Id="rId5" Type="http://schemas.openxmlformats.org/officeDocument/2006/relationships/slideLayout" Target="../slideLayouts/slideLayout366.xml"/><Relationship Id="rId95" Type="http://schemas.openxmlformats.org/officeDocument/2006/relationships/slideLayout" Target="../slideLayouts/slideLayout456.xml"/><Relationship Id="rId160" Type="http://schemas.openxmlformats.org/officeDocument/2006/relationships/slideLayout" Target="../slideLayouts/slideLayout521.xml"/><Relationship Id="rId22" Type="http://schemas.openxmlformats.org/officeDocument/2006/relationships/slideLayout" Target="../slideLayouts/slideLayout383.xml"/><Relationship Id="rId43" Type="http://schemas.openxmlformats.org/officeDocument/2006/relationships/slideLayout" Target="../slideLayouts/slideLayout404.xml"/><Relationship Id="rId64" Type="http://schemas.openxmlformats.org/officeDocument/2006/relationships/slideLayout" Target="../slideLayouts/slideLayout425.xml"/><Relationship Id="rId118" Type="http://schemas.openxmlformats.org/officeDocument/2006/relationships/slideLayout" Target="../slideLayouts/slideLayout479.xml"/><Relationship Id="rId139" Type="http://schemas.openxmlformats.org/officeDocument/2006/relationships/slideLayout" Target="../slideLayouts/slideLayout500.xml"/><Relationship Id="rId85" Type="http://schemas.openxmlformats.org/officeDocument/2006/relationships/slideLayout" Target="../slideLayouts/slideLayout446.xml"/><Relationship Id="rId150" Type="http://schemas.openxmlformats.org/officeDocument/2006/relationships/slideLayout" Target="../slideLayouts/slideLayout511.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33" Type="http://schemas.openxmlformats.org/officeDocument/2006/relationships/slideLayout" Target="../slideLayouts/slideLayout394.xml"/><Relationship Id="rId38" Type="http://schemas.openxmlformats.org/officeDocument/2006/relationships/slideLayout" Target="../slideLayouts/slideLayout399.xml"/><Relationship Id="rId59" Type="http://schemas.openxmlformats.org/officeDocument/2006/relationships/slideLayout" Target="../slideLayouts/slideLayout420.xml"/><Relationship Id="rId103" Type="http://schemas.openxmlformats.org/officeDocument/2006/relationships/slideLayout" Target="../slideLayouts/slideLayout464.xml"/><Relationship Id="rId108" Type="http://schemas.openxmlformats.org/officeDocument/2006/relationships/slideLayout" Target="../slideLayouts/slideLayout469.xml"/><Relationship Id="rId124" Type="http://schemas.openxmlformats.org/officeDocument/2006/relationships/slideLayout" Target="../slideLayouts/slideLayout485.xml"/><Relationship Id="rId129" Type="http://schemas.openxmlformats.org/officeDocument/2006/relationships/slideLayout" Target="../slideLayouts/slideLayout490.xml"/><Relationship Id="rId54" Type="http://schemas.openxmlformats.org/officeDocument/2006/relationships/slideLayout" Target="../slideLayouts/slideLayout415.xml"/><Relationship Id="rId70" Type="http://schemas.openxmlformats.org/officeDocument/2006/relationships/slideLayout" Target="../slideLayouts/slideLayout431.xml"/><Relationship Id="rId75" Type="http://schemas.openxmlformats.org/officeDocument/2006/relationships/slideLayout" Target="../slideLayouts/slideLayout436.xml"/><Relationship Id="rId91" Type="http://schemas.openxmlformats.org/officeDocument/2006/relationships/slideLayout" Target="../slideLayouts/slideLayout452.xml"/><Relationship Id="rId96" Type="http://schemas.openxmlformats.org/officeDocument/2006/relationships/slideLayout" Target="../slideLayouts/slideLayout457.xml"/><Relationship Id="rId140" Type="http://schemas.openxmlformats.org/officeDocument/2006/relationships/slideLayout" Target="../slideLayouts/slideLayout501.xml"/><Relationship Id="rId145" Type="http://schemas.openxmlformats.org/officeDocument/2006/relationships/slideLayout" Target="../slideLayouts/slideLayout506.xml"/><Relationship Id="rId161" Type="http://schemas.openxmlformats.org/officeDocument/2006/relationships/slideLayout" Target="../slideLayouts/slideLayout522.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23" Type="http://schemas.openxmlformats.org/officeDocument/2006/relationships/slideLayout" Target="../slideLayouts/slideLayout384.xml"/><Relationship Id="rId28" Type="http://schemas.openxmlformats.org/officeDocument/2006/relationships/slideLayout" Target="../slideLayouts/slideLayout389.xml"/><Relationship Id="rId49" Type="http://schemas.openxmlformats.org/officeDocument/2006/relationships/slideLayout" Target="../slideLayouts/slideLayout410.xml"/><Relationship Id="rId114" Type="http://schemas.openxmlformats.org/officeDocument/2006/relationships/slideLayout" Target="../slideLayouts/slideLayout475.xml"/><Relationship Id="rId119" Type="http://schemas.openxmlformats.org/officeDocument/2006/relationships/slideLayout" Target="../slideLayouts/slideLayout480.xml"/><Relationship Id="rId44" Type="http://schemas.openxmlformats.org/officeDocument/2006/relationships/slideLayout" Target="../slideLayouts/slideLayout405.xml"/><Relationship Id="rId60" Type="http://schemas.openxmlformats.org/officeDocument/2006/relationships/slideLayout" Target="../slideLayouts/slideLayout421.xml"/><Relationship Id="rId65" Type="http://schemas.openxmlformats.org/officeDocument/2006/relationships/slideLayout" Target="../slideLayouts/slideLayout426.xml"/><Relationship Id="rId81" Type="http://schemas.openxmlformats.org/officeDocument/2006/relationships/slideLayout" Target="../slideLayouts/slideLayout442.xml"/><Relationship Id="rId86" Type="http://schemas.openxmlformats.org/officeDocument/2006/relationships/slideLayout" Target="../slideLayouts/slideLayout447.xml"/><Relationship Id="rId130" Type="http://schemas.openxmlformats.org/officeDocument/2006/relationships/slideLayout" Target="../slideLayouts/slideLayout491.xml"/><Relationship Id="rId135" Type="http://schemas.openxmlformats.org/officeDocument/2006/relationships/slideLayout" Target="../slideLayouts/slideLayout496.xml"/><Relationship Id="rId151" Type="http://schemas.openxmlformats.org/officeDocument/2006/relationships/slideLayout" Target="../slideLayouts/slideLayout512.xml"/><Relationship Id="rId156" Type="http://schemas.openxmlformats.org/officeDocument/2006/relationships/slideLayout" Target="../slideLayouts/slideLayout517.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39" Type="http://schemas.openxmlformats.org/officeDocument/2006/relationships/slideLayout" Target="../slideLayouts/slideLayout400.xml"/><Relationship Id="rId109" Type="http://schemas.openxmlformats.org/officeDocument/2006/relationships/slideLayout" Target="../slideLayouts/slideLayout470.xml"/><Relationship Id="rId34" Type="http://schemas.openxmlformats.org/officeDocument/2006/relationships/slideLayout" Target="../slideLayouts/slideLayout395.xml"/><Relationship Id="rId50" Type="http://schemas.openxmlformats.org/officeDocument/2006/relationships/slideLayout" Target="../slideLayouts/slideLayout411.xml"/><Relationship Id="rId55" Type="http://schemas.openxmlformats.org/officeDocument/2006/relationships/slideLayout" Target="../slideLayouts/slideLayout416.xml"/><Relationship Id="rId76" Type="http://schemas.openxmlformats.org/officeDocument/2006/relationships/slideLayout" Target="../slideLayouts/slideLayout437.xml"/><Relationship Id="rId97" Type="http://schemas.openxmlformats.org/officeDocument/2006/relationships/slideLayout" Target="../slideLayouts/slideLayout458.xml"/><Relationship Id="rId104" Type="http://schemas.openxmlformats.org/officeDocument/2006/relationships/slideLayout" Target="../slideLayouts/slideLayout465.xml"/><Relationship Id="rId120" Type="http://schemas.openxmlformats.org/officeDocument/2006/relationships/slideLayout" Target="../slideLayouts/slideLayout481.xml"/><Relationship Id="rId125" Type="http://schemas.openxmlformats.org/officeDocument/2006/relationships/slideLayout" Target="../slideLayouts/slideLayout486.xml"/><Relationship Id="rId141" Type="http://schemas.openxmlformats.org/officeDocument/2006/relationships/slideLayout" Target="../slideLayouts/slideLayout502.xml"/><Relationship Id="rId146" Type="http://schemas.openxmlformats.org/officeDocument/2006/relationships/slideLayout" Target="../slideLayouts/slideLayout507.xml"/><Relationship Id="rId7" Type="http://schemas.openxmlformats.org/officeDocument/2006/relationships/slideLayout" Target="../slideLayouts/slideLayout368.xml"/><Relationship Id="rId71" Type="http://schemas.openxmlformats.org/officeDocument/2006/relationships/slideLayout" Target="../slideLayouts/slideLayout432.xml"/><Relationship Id="rId92" Type="http://schemas.openxmlformats.org/officeDocument/2006/relationships/slideLayout" Target="../slideLayouts/slideLayout453.xml"/><Relationship Id="rId162" Type="http://schemas.openxmlformats.org/officeDocument/2006/relationships/slideLayout" Target="../slideLayouts/slideLayout523.xml"/><Relationship Id="rId2" Type="http://schemas.openxmlformats.org/officeDocument/2006/relationships/slideLayout" Target="../slideLayouts/slideLayout363.xml"/><Relationship Id="rId29" Type="http://schemas.openxmlformats.org/officeDocument/2006/relationships/slideLayout" Target="../slideLayouts/slideLayout390.xml"/><Relationship Id="rId24" Type="http://schemas.openxmlformats.org/officeDocument/2006/relationships/slideLayout" Target="../slideLayouts/slideLayout385.xml"/><Relationship Id="rId40" Type="http://schemas.openxmlformats.org/officeDocument/2006/relationships/slideLayout" Target="../slideLayouts/slideLayout401.xml"/><Relationship Id="rId45" Type="http://schemas.openxmlformats.org/officeDocument/2006/relationships/slideLayout" Target="../slideLayouts/slideLayout406.xml"/><Relationship Id="rId66" Type="http://schemas.openxmlformats.org/officeDocument/2006/relationships/slideLayout" Target="../slideLayouts/slideLayout427.xml"/><Relationship Id="rId87" Type="http://schemas.openxmlformats.org/officeDocument/2006/relationships/slideLayout" Target="../slideLayouts/slideLayout448.xml"/><Relationship Id="rId110" Type="http://schemas.openxmlformats.org/officeDocument/2006/relationships/slideLayout" Target="../slideLayouts/slideLayout471.xml"/><Relationship Id="rId115" Type="http://schemas.openxmlformats.org/officeDocument/2006/relationships/slideLayout" Target="../slideLayouts/slideLayout476.xml"/><Relationship Id="rId131" Type="http://schemas.openxmlformats.org/officeDocument/2006/relationships/slideLayout" Target="../slideLayouts/slideLayout492.xml"/><Relationship Id="rId136" Type="http://schemas.openxmlformats.org/officeDocument/2006/relationships/slideLayout" Target="../slideLayouts/slideLayout497.xml"/><Relationship Id="rId157" Type="http://schemas.openxmlformats.org/officeDocument/2006/relationships/slideLayout" Target="../slideLayouts/slideLayout518.xml"/><Relationship Id="rId61" Type="http://schemas.openxmlformats.org/officeDocument/2006/relationships/slideLayout" Target="../slideLayouts/slideLayout422.xml"/><Relationship Id="rId82" Type="http://schemas.openxmlformats.org/officeDocument/2006/relationships/slideLayout" Target="../slideLayouts/slideLayout443.xml"/><Relationship Id="rId152" Type="http://schemas.openxmlformats.org/officeDocument/2006/relationships/slideLayout" Target="../slideLayouts/slideLayout513.xml"/><Relationship Id="rId19" Type="http://schemas.openxmlformats.org/officeDocument/2006/relationships/slideLayout" Target="../slideLayouts/slideLayout380.xml"/><Relationship Id="rId14" Type="http://schemas.openxmlformats.org/officeDocument/2006/relationships/slideLayout" Target="../slideLayouts/slideLayout375.xml"/><Relationship Id="rId30" Type="http://schemas.openxmlformats.org/officeDocument/2006/relationships/slideLayout" Target="../slideLayouts/slideLayout391.xml"/><Relationship Id="rId35" Type="http://schemas.openxmlformats.org/officeDocument/2006/relationships/slideLayout" Target="../slideLayouts/slideLayout396.xml"/><Relationship Id="rId56" Type="http://schemas.openxmlformats.org/officeDocument/2006/relationships/slideLayout" Target="../slideLayouts/slideLayout417.xml"/><Relationship Id="rId77" Type="http://schemas.openxmlformats.org/officeDocument/2006/relationships/slideLayout" Target="../slideLayouts/slideLayout438.xml"/><Relationship Id="rId100" Type="http://schemas.openxmlformats.org/officeDocument/2006/relationships/slideLayout" Target="../slideLayouts/slideLayout461.xml"/><Relationship Id="rId105" Type="http://schemas.openxmlformats.org/officeDocument/2006/relationships/slideLayout" Target="../slideLayouts/slideLayout466.xml"/><Relationship Id="rId126" Type="http://schemas.openxmlformats.org/officeDocument/2006/relationships/slideLayout" Target="../slideLayouts/slideLayout487.xml"/><Relationship Id="rId147" Type="http://schemas.openxmlformats.org/officeDocument/2006/relationships/slideLayout" Target="../slideLayouts/slideLayout508.xml"/><Relationship Id="rId8" Type="http://schemas.openxmlformats.org/officeDocument/2006/relationships/slideLayout" Target="../slideLayouts/slideLayout369.xml"/><Relationship Id="rId51" Type="http://schemas.openxmlformats.org/officeDocument/2006/relationships/slideLayout" Target="../slideLayouts/slideLayout412.xml"/><Relationship Id="rId72" Type="http://schemas.openxmlformats.org/officeDocument/2006/relationships/slideLayout" Target="../slideLayouts/slideLayout433.xml"/><Relationship Id="rId93" Type="http://schemas.openxmlformats.org/officeDocument/2006/relationships/slideLayout" Target="../slideLayouts/slideLayout454.xml"/><Relationship Id="rId98" Type="http://schemas.openxmlformats.org/officeDocument/2006/relationships/slideLayout" Target="../slideLayouts/slideLayout459.xml"/><Relationship Id="rId121" Type="http://schemas.openxmlformats.org/officeDocument/2006/relationships/slideLayout" Target="../slideLayouts/slideLayout482.xml"/><Relationship Id="rId142" Type="http://schemas.openxmlformats.org/officeDocument/2006/relationships/slideLayout" Target="../slideLayouts/slideLayout503.xml"/><Relationship Id="rId163" Type="http://schemas.openxmlformats.org/officeDocument/2006/relationships/theme" Target="../theme/theme20.xml"/><Relationship Id="rId3" Type="http://schemas.openxmlformats.org/officeDocument/2006/relationships/slideLayout" Target="../slideLayouts/slideLayout364.xml"/><Relationship Id="rId25" Type="http://schemas.openxmlformats.org/officeDocument/2006/relationships/slideLayout" Target="../slideLayouts/slideLayout386.xml"/><Relationship Id="rId46" Type="http://schemas.openxmlformats.org/officeDocument/2006/relationships/slideLayout" Target="../slideLayouts/slideLayout407.xml"/><Relationship Id="rId67" Type="http://schemas.openxmlformats.org/officeDocument/2006/relationships/slideLayout" Target="../slideLayouts/slideLayout428.xml"/><Relationship Id="rId116" Type="http://schemas.openxmlformats.org/officeDocument/2006/relationships/slideLayout" Target="../slideLayouts/slideLayout477.xml"/><Relationship Id="rId137" Type="http://schemas.openxmlformats.org/officeDocument/2006/relationships/slideLayout" Target="../slideLayouts/slideLayout498.xml"/><Relationship Id="rId158" Type="http://schemas.openxmlformats.org/officeDocument/2006/relationships/slideLayout" Target="../slideLayouts/slideLayout519.xml"/><Relationship Id="rId20" Type="http://schemas.openxmlformats.org/officeDocument/2006/relationships/slideLayout" Target="../slideLayouts/slideLayout381.xml"/><Relationship Id="rId41" Type="http://schemas.openxmlformats.org/officeDocument/2006/relationships/slideLayout" Target="../slideLayouts/slideLayout402.xml"/><Relationship Id="rId62" Type="http://schemas.openxmlformats.org/officeDocument/2006/relationships/slideLayout" Target="../slideLayouts/slideLayout423.xml"/><Relationship Id="rId83" Type="http://schemas.openxmlformats.org/officeDocument/2006/relationships/slideLayout" Target="../slideLayouts/slideLayout444.xml"/><Relationship Id="rId88" Type="http://schemas.openxmlformats.org/officeDocument/2006/relationships/slideLayout" Target="../slideLayouts/slideLayout449.xml"/><Relationship Id="rId111" Type="http://schemas.openxmlformats.org/officeDocument/2006/relationships/slideLayout" Target="../slideLayouts/slideLayout472.xml"/><Relationship Id="rId132" Type="http://schemas.openxmlformats.org/officeDocument/2006/relationships/slideLayout" Target="../slideLayouts/slideLayout493.xml"/><Relationship Id="rId153" Type="http://schemas.openxmlformats.org/officeDocument/2006/relationships/slideLayout" Target="../slideLayouts/slideLayout514.xml"/><Relationship Id="rId15" Type="http://schemas.openxmlformats.org/officeDocument/2006/relationships/slideLayout" Target="../slideLayouts/slideLayout376.xml"/><Relationship Id="rId36" Type="http://schemas.openxmlformats.org/officeDocument/2006/relationships/slideLayout" Target="../slideLayouts/slideLayout397.xml"/><Relationship Id="rId57" Type="http://schemas.openxmlformats.org/officeDocument/2006/relationships/slideLayout" Target="../slideLayouts/slideLayout418.xml"/><Relationship Id="rId106" Type="http://schemas.openxmlformats.org/officeDocument/2006/relationships/slideLayout" Target="../slideLayouts/slideLayout467.xml"/><Relationship Id="rId127" Type="http://schemas.openxmlformats.org/officeDocument/2006/relationships/slideLayout" Target="../slideLayouts/slideLayout488.xml"/><Relationship Id="rId10" Type="http://schemas.openxmlformats.org/officeDocument/2006/relationships/slideLayout" Target="../slideLayouts/slideLayout371.xml"/><Relationship Id="rId31" Type="http://schemas.openxmlformats.org/officeDocument/2006/relationships/slideLayout" Target="../slideLayouts/slideLayout392.xml"/><Relationship Id="rId52" Type="http://schemas.openxmlformats.org/officeDocument/2006/relationships/slideLayout" Target="../slideLayouts/slideLayout413.xml"/><Relationship Id="rId73" Type="http://schemas.openxmlformats.org/officeDocument/2006/relationships/slideLayout" Target="../slideLayouts/slideLayout434.xml"/><Relationship Id="rId78" Type="http://schemas.openxmlformats.org/officeDocument/2006/relationships/slideLayout" Target="../slideLayouts/slideLayout439.xml"/><Relationship Id="rId94" Type="http://schemas.openxmlformats.org/officeDocument/2006/relationships/slideLayout" Target="../slideLayouts/slideLayout455.xml"/><Relationship Id="rId99" Type="http://schemas.openxmlformats.org/officeDocument/2006/relationships/slideLayout" Target="../slideLayouts/slideLayout460.xml"/><Relationship Id="rId101" Type="http://schemas.openxmlformats.org/officeDocument/2006/relationships/slideLayout" Target="../slideLayouts/slideLayout462.xml"/><Relationship Id="rId122" Type="http://schemas.openxmlformats.org/officeDocument/2006/relationships/slideLayout" Target="../slideLayouts/slideLayout483.xml"/><Relationship Id="rId143" Type="http://schemas.openxmlformats.org/officeDocument/2006/relationships/slideLayout" Target="../slideLayouts/slideLayout504.xml"/><Relationship Id="rId148" Type="http://schemas.openxmlformats.org/officeDocument/2006/relationships/slideLayout" Target="../slideLayouts/slideLayout509.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26" Type="http://schemas.openxmlformats.org/officeDocument/2006/relationships/slideLayout" Target="../slideLayouts/slideLayout387.xml"/><Relationship Id="rId47" Type="http://schemas.openxmlformats.org/officeDocument/2006/relationships/slideLayout" Target="../slideLayouts/slideLayout408.xml"/><Relationship Id="rId68" Type="http://schemas.openxmlformats.org/officeDocument/2006/relationships/slideLayout" Target="../slideLayouts/slideLayout429.xml"/><Relationship Id="rId89" Type="http://schemas.openxmlformats.org/officeDocument/2006/relationships/slideLayout" Target="../slideLayouts/slideLayout450.xml"/><Relationship Id="rId112" Type="http://schemas.openxmlformats.org/officeDocument/2006/relationships/slideLayout" Target="../slideLayouts/slideLayout473.xml"/><Relationship Id="rId133" Type="http://schemas.openxmlformats.org/officeDocument/2006/relationships/slideLayout" Target="../slideLayouts/slideLayout494.xml"/><Relationship Id="rId154" Type="http://schemas.openxmlformats.org/officeDocument/2006/relationships/slideLayout" Target="../slideLayouts/slideLayout515.xml"/><Relationship Id="rId16" Type="http://schemas.openxmlformats.org/officeDocument/2006/relationships/slideLayout" Target="../slideLayouts/slideLayout377.xml"/><Relationship Id="rId37" Type="http://schemas.openxmlformats.org/officeDocument/2006/relationships/slideLayout" Target="../slideLayouts/slideLayout398.xml"/><Relationship Id="rId58" Type="http://schemas.openxmlformats.org/officeDocument/2006/relationships/slideLayout" Target="../slideLayouts/slideLayout419.xml"/><Relationship Id="rId79" Type="http://schemas.openxmlformats.org/officeDocument/2006/relationships/slideLayout" Target="../slideLayouts/slideLayout440.xml"/><Relationship Id="rId102" Type="http://schemas.openxmlformats.org/officeDocument/2006/relationships/slideLayout" Target="../slideLayouts/slideLayout463.xml"/><Relationship Id="rId123" Type="http://schemas.openxmlformats.org/officeDocument/2006/relationships/slideLayout" Target="../slideLayouts/slideLayout484.xml"/><Relationship Id="rId144" Type="http://schemas.openxmlformats.org/officeDocument/2006/relationships/slideLayout" Target="../slideLayouts/slideLayout505.xml"/><Relationship Id="rId90" Type="http://schemas.openxmlformats.org/officeDocument/2006/relationships/slideLayout" Target="../slideLayouts/slideLayout451.xml"/><Relationship Id="rId27" Type="http://schemas.openxmlformats.org/officeDocument/2006/relationships/slideLayout" Target="../slideLayouts/slideLayout388.xml"/><Relationship Id="rId48" Type="http://schemas.openxmlformats.org/officeDocument/2006/relationships/slideLayout" Target="../slideLayouts/slideLayout409.xml"/><Relationship Id="rId69" Type="http://schemas.openxmlformats.org/officeDocument/2006/relationships/slideLayout" Target="../slideLayouts/slideLayout430.xml"/><Relationship Id="rId113" Type="http://schemas.openxmlformats.org/officeDocument/2006/relationships/slideLayout" Target="../slideLayouts/slideLayout474.xml"/><Relationship Id="rId134" Type="http://schemas.openxmlformats.org/officeDocument/2006/relationships/slideLayout" Target="../slideLayouts/slideLayout495.xml"/><Relationship Id="rId80" Type="http://schemas.openxmlformats.org/officeDocument/2006/relationships/slideLayout" Target="../slideLayouts/slideLayout441.xml"/><Relationship Id="rId155" Type="http://schemas.openxmlformats.org/officeDocument/2006/relationships/slideLayout" Target="../slideLayouts/slideLayout516.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531.xml"/><Relationship Id="rId3" Type="http://schemas.openxmlformats.org/officeDocument/2006/relationships/slideLayout" Target="../slideLayouts/slideLayout526.xml"/><Relationship Id="rId7" Type="http://schemas.openxmlformats.org/officeDocument/2006/relationships/slideLayout" Target="../slideLayouts/slideLayout530.xml"/><Relationship Id="rId2" Type="http://schemas.openxmlformats.org/officeDocument/2006/relationships/slideLayout" Target="../slideLayouts/slideLayout525.xml"/><Relationship Id="rId1" Type="http://schemas.openxmlformats.org/officeDocument/2006/relationships/slideLayout" Target="../slideLayouts/slideLayout524.xml"/><Relationship Id="rId6" Type="http://schemas.openxmlformats.org/officeDocument/2006/relationships/slideLayout" Target="../slideLayouts/slideLayout529.xml"/><Relationship Id="rId5" Type="http://schemas.openxmlformats.org/officeDocument/2006/relationships/slideLayout" Target="../slideLayouts/slideLayout528.xml"/><Relationship Id="rId4" Type="http://schemas.openxmlformats.org/officeDocument/2006/relationships/slideLayout" Target="../slideLayouts/slideLayout527.xml"/><Relationship Id="rId9"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3" Type="http://schemas.openxmlformats.org/officeDocument/2006/relationships/slideLayout" Target="../slideLayouts/slideLayout534.x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5" Type="http://schemas.openxmlformats.org/officeDocument/2006/relationships/slideLayout" Target="../slideLayouts/slideLayout536.xml"/><Relationship Id="rId15" Type="http://schemas.openxmlformats.org/officeDocument/2006/relationships/slideLayout" Target="../slideLayouts/slideLayout546.xml"/><Relationship Id="rId10" Type="http://schemas.openxmlformats.org/officeDocument/2006/relationships/slideLayout" Target="../slideLayouts/slideLayout541.xml"/><Relationship Id="rId19" Type="http://schemas.openxmlformats.org/officeDocument/2006/relationships/theme" Target="../theme/theme22.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s>
</file>

<file path=ppt/slideMasters/_rels/slideMaster23.xml.rels><?xml version="1.0" encoding="UTF-8" standalone="yes"?>
<Relationships xmlns="http://schemas.openxmlformats.org/package/2006/relationships"><Relationship Id="rId117" Type="http://schemas.openxmlformats.org/officeDocument/2006/relationships/slideLayout" Target="../slideLayouts/slideLayout666.xml"/><Relationship Id="rId21" Type="http://schemas.openxmlformats.org/officeDocument/2006/relationships/slideLayout" Target="../slideLayouts/slideLayout570.xml"/><Relationship Id="rId42" Type="http://schemas.openxmlformats.org/officeDocument/2006/relationships/slideLayout" Target="../slideLayouts/slideLayout591.xml"/><Relationship Id="rId63" Type="http://schemas.openxmlformats.org/officeDocument/2006/relationships/slideLayout" Target="../slideLayouts/slideLayout612.xml"/><Relationship Id="rId84" Type="http://schemas.openxmlformats.org/officeDocument/2006/relationships/slideLayout" Target="../slideLayouts/slideLayout633.xml"/><Relationship Id="rId138" Type="http://schemas.openxmlformats.org/officeDocument/2006/relationships/slideLayout" Target="../slideLayouts/slideLayout687.xml"/><Relationship Id="rId159" Type="http://schemas.openxmlformats.org/officeDocument/2006/relationships/slideLayout" Target="../slideLayouts/slideLayout708.xml"/><Relationship Id="rId107" Type="http://schemas.openxmlformats.org/officeDocument/2006/relationships/slideLayout" Target="../slideLayouts/slideLayout656.xml"/><Relationship Id="rId11" Type="http://schemas.openxmlformats.org/officeDocument/2006/relationships/slideLayout" Target="../slideLayouts/slideLayout560.xml"/><Relationship Id="rId32" Type="http://schemas.openxmlformats.org/officeDocument/2006/relationships/slideLayout" Target="../slideLayouts/slideLayout581.xml"/><Relationship Id="rId53" Type="http://schemas.openxmlformats.org/officeDocument/2006/relationships/slideLayout" Target="../slideLayouts/slideLayout602.xml"/><Relationship Id="rId74" Type="http://schemas.openxmlformats.org/officeDocument/2006/relationships/slideLayout" Target="../slideLayouts/slideLayout623.xml"/><Relationship Id="rId128" Type="http://schemas.openxmlformats.org/officeDocument/2006/relationships/slideLayout" Target="../slideLayouts/slideLayout677.xml"/><Relationship Id="rId149" Type="http://schemas.openxmlformats.org/officeDocument/2006/relationships/slideLayout" Target="../slideLayouts/slideLayout698.xml"/><Relationship Id="rId5" Type="http://schemas.openxmlformats.org/officeDocument/2006/relationships/slideLayout" Target="../slideLayouts/slideLayout554.xml"/><Relationship Id="rId95" Type="http://schemas.openxmlformats.org/officeDocument/2006/relationships/slideLayout" Target="../slideLayouts/slideLayout644.xml"/><Relationship Id="rId160" Type="http://schemas.openxmlformats.org/officeDocument/2006/relationships/slideLayout" Target="../slideLayouts/slideLayout709.xml"/><Relationship Id="rId22" Type="http://schemas.openxmlformats.org/officeDocument/2006/relationships/slideLayout" Target="../slideLayouts/slideLayout571.xml"/><Relationship Id="rId43" Type="http://schemas.openxmlformats.org/officeDocument/2006/relationships/slideLayout" Target="../slideLayouts/slideLayout592.xml"/><Relationship Id="rId64" Type="http://schemas.openxmlformats.org/officeDocument/2006/relationships/slideLayout" Target="../slideLayouts/slideLayout613.xml"/><Relationship Id="rId118" Type="http://schemas.openxmlformats.org/officeDocument/2006/relationships/slideLayout" Target="../slideLayouts/slideLayout667.xml"/><Relationship Id="rId139" Type="http://schemas.openxmlformats.org/officeDocument/2006/relationships/slideLayout" Target="../slideLayouts/slideLayout688.xml"/><Relationship Id="rId85" Type="http://schemas.openxmlformats.org/officeDocument/2006/relationships/slideLayout" Target="../slideLayouts/slideLayout634.xml"/><Relationship Id="rId150" Type="http://schemas.openxmlformats.org/officeDocument/2006/relationships/slideLayout" Target="../slideLayouts/slideLayout699.xml"/><Relationship Id="rId12" Type="http://schemas.openxmlformats.org/officeDocument/2006/relationships/slideLayout" Target="../slideLayouts/slideLayout561.xml"/><Relationship Id="rId17" Type="http://schemas.openxmlformats.org/officeDocument/2006/relationships/slideLayout" Target="../slideLayouts/slideLayout566.xml"/><Relationship Id="rId33" Type="http://schemas.openxmlformats.org/officeDocument/2006/relationships/slideLayout" Target="../slideLayouts/slideLayout582.xml"/><Relationship Id="rId38" Type="http://schemas.openxmlformats.org/officeDocument/2006/relationships/slideLayout" Target="../slideLayouts/slideLayout587.xml"/><Relationship Id="rId59" Type="http://schemas.openxmlformats.org/officeDocument/2006/relationships/slideLayout" Target="../slideLayouts/slideLayout608.xml"/><Relationship Id="rId103" Type="http://schemas.openxmlformats.org/officeDocument/2006/relationships/slideLayout" Target="../slideLayouts/slideLayout652.xml"/><Relationship Id="rId108" Type="http://schemas.openxmlformats.org/officeDocument/2006/relationships/slideLayout" Target="../slideLayouts/slideLayout657.xml"/><Relationship Id="rId124" Type="http://schemas.openxmlformats.org/officeDocument/2006/relationships/slideLayout" Target="../slideLayouts/slideLayout673.xml"/><Relationship Id="rId129" Type="http://schemas.openxmlformats.org/officeDocument/2006/relationships/slideLayout" Target="../slideLayouts/slideLayout678.xml"/><Relationship Id="rId54" Type="http://schemas.openxmlformats.org/officeDocument/2006/relationships/slideLayout" Target="../slideLayouts/slideLayout603.xml"/><Relationship Id="rId70" Type="http://schemas.openxmlformats.org/officeDocument/2006/relationships/slideLayout" Target="../slideLayouts/slideLayout619.xml"/><Relationship Id="rId75" Type="http://schemas.openxmlformats.org/officeDocument/2006/relationships/slideLayout" Target="../slideLayouts/slideLayout624.xml"/><Relationship Id="rId91" Type="http://schemas.openxmlformats.org/officeDocument/2006/relationships/slideLayout" Target="../slideLayouts/slideLayout640.xml"/><Relationship Id="rId96" Type="http://schemas.openxmlformats.org/officeDocument/2006/relationships/slideLayout" Target="../slideLayouts/slideLayout645.xml"/><Relationship Id="rId140" Type="http://schemas.openxmlformats.org/officeDocument/2006/relationships/slideLayout" Target="../slideLayouts/slideLayout689.xml"/><Relationship Id="rId145" Type="http://schemas.openxmlformats.org/officeDocument/2006/relationships/slideLayout" Target="../slideLayouts/slideLayout694.xml"/><Relationship Id="rId161" Type="http://schemas.openxmlformats.org/officeDocument/2006/relationships/slideLayout" Target="../slideLayouts/slideLayout710.xml"/><Relationship Id="rId166" Type="http://schemas.openxmlformats.org/officeDocument/2006/relationships/theme" Target="../theme/theme23.xml"/><Relationship Id="rId1" Type="http://schemas.openxmlformats.org/officeDocument/2006/relationships/slideLayout" Target="../slideLayouts/slideLayout550.xml"/><Relationship Id="rId6" Type="http://schemas.openxmlformats.org/officeDocument/2006/relationships/slideLayout" Target="../slideLayouts/slideLayout555.xml"/><Relationship Id="rId23" Type="http://schemas.openxmlformats.org/officeDocument/2006/relationships/slideLayout" Target="../slideLayouts/slideLayout572.xml"/><Relationship Id="rId28" Type="http://schemas.openxmlformats.org/officeDocument/2006/relationships/slideLayout" Target="../slideLayouts/slideLayout577.xml"/><Relationship Id="rId49" Type="http://schemas.openxmlformats.org/officeDocument/2006/relationships/slideLayout" Target="../slideLayouts/slideLayout598.xml"/><Relationship Id="rId114" Type="http://schemas.openxmlformats.org/officeDocument/2006/relationships/slideLayout" Target="../slideLayouts/slideLayout663.xml"/><Relationship Id="rId119" Type="http://schemas.openxmlformats.org/officeDocument/2006/relationships/slideLayout" Target="../slideLayouts/slideLayout668.xml"/><Relationship Id="rId44" Type="http://schemas.openxmlformats.org/officeDocument/2006/relationships/slideLayout" Target="../slideLayouts/slideLayout593.xml"/><Relationship Id="rId60" Type="http://schemas.openxmlformats.org/officeDocument/2006/relationships/slideLayout" Target="../slideLayouts/slideLayout609.xml"/><Relationship Id="rId65" Type="http://schemas.openxmlformats.org/officeDocument/2006/relationships/slideLayout" Target="../slideLayouts/slideLayout614.xml"/><Relationship Id="rId81" Type="http://schemas.openxmlformats.org/officeDocument/2006/relationships/slideLayout" Target="../slideLayouts/slideLayout630.xml"/><Relationship Id="rId86" Type="http://schemas.openxmlformats.org/officeDocument/2006/relationships/slideLayout" Target="../slideLayouts/slideLayout635.xml"/><Relationship Id="rId130" Type="http://schemas.openxmlformats.org/officeDocument/2006/relationships/slideLayout" Target="../slideLayouts/slideLayout679.xml"/><Relationship Id="rId135" Type="http://schemas.openxmlformats.org/officeDocument/2006/relationships/slideLayout" Target="../slideLayouts/slideLayout684.xml"/><Relationship Id="rId151" Type="http://schemas.openxmlformats.org/officeDocument/2006/relationships/slideLayout" Target="../slideLayouts/slideLayout700.xml"/><Relationship Id="rId156" Type="http://schemas.openxmlformats.org/officeDocument/2006/relationships/slideLayout" Target="../slideLayouts/slideLayout705.xml"/><Relationship Id="rId13" Type="http://schemas.openxmlformats.org/officeDocument/2006/relationships/slideLayout" Target="../slideLayouts/slideLayout562.xml"/><Relationship Id="rId18" Type="http://schemas.openxmlformats.org/officeDocument/2006/relationships/slideLayout" Target="../slideLayouts/slideLayout567.xml"/><Relationship Id="rId39" Type="http://schemas.openxmlformats.org/officeDocument/2006/relationships/slideLayout" Target="../slideLayouts/slideLayout588.xml"/><Relationship Id="rId109" Type="http://schemas.openxmlformats.org/officeDocument/2006/relationships/slideLayout" Target="../slideLayouts/slideLayout658.xml"/><Relationship Id="rId34" Type="http://schemas.openxmlformats.org/officeDocument/2006/relationships/slideLayout" Target="../slideLayouts/slideLayout583.xml"/><Relationship Id="rId50" Type="http://schemas.openxmlformats.org/officeDocument/2006/relationships/slideLayout" Target="../slideLayouts/slideLayout599.xml"/><Relationship Id="rId55" Type="http://schemas.openxmlformats.org/officeDocument/2006/relationships/slideLayout" Target="../slideLayouts/slideLayout604.xml"/><Relationship Id="rId76" Type="http://schemas.openxmlformats.org/officeDocument/2006/relationships/slideLayout" Target="../slideLayouts/slideLayout625.xml"/><Relationship Id="rId97" Type="http://schemas.openxmlformats.org/officeDocument/2006/relationships/slideLayout" Target="../slideLayouts/slideLayout646.xml"/><Relationship Id="rId104" Type="http://schemas.openxmlformats.org/officeDocument/2006/relationships/slideLayout" Target="../slideLayouts/slideLayout653.xml"/><Relationship Id="rId120" Type="http://schemas.openxmlformats.org/officeDocument/2006/relationships/slideLayout" Target="../slideLayouts/slideLayout669.xml"/><Relationship Id="rId125" Type="http://schemas.openxmlformats.org/officeDocument/2006/relationships/slideLayout" Target="../slideLayouts/slideLayout674.xml"/><Relationship Id="rId141" Type="http://schemas.openxmlformats.org/officeDocument/2006/relationships/slideLayout" Target="../slideLayouts/slideLayout690.xml"/><Relationship Id="rId146" Type="http://schemas.openxmlformats.org/officeDocument/2006/relationships/slideLayout" Target="../slideLayouts/slideLayout695.xml"/><Relationship Id="rId7" Type="http://schemas.openxmlformats.org/officeDocument/2006/relationships/slideLayout" Target="../slideLayouts/slideLayout556.xml"/><Relationship Id="rId71" Type="http://schemas.openxmlformats.org/officeDocument/2006/relationships/slideLayout" Target="../slideLayouts/slideLayout620.xml"/><Relationship Id="rId92" Type="http://schemas.openxmlformats.org/officeDocument/2006/relationships/slideLayout" Target="../slideLayouts/slideLayout641.xml"/><Relationship Id="rId162" Type="http://schemas.openxmlformats.org/officeDocument/2006/relationships/slideLayout" Target="../slideLayouts/slideLayout711.xml"/><Relationship Id="rId2" Type="http://schemas.openxmlformats.org/officeDocument/2006/relationships/slideLayout" Target="../slideLayouts/slideLayout551.xml"/><Relationship Id="rId29" Type="http://schemas.openxmlformats.org/officeDocument/2006/relationships/slideLayout" Target="../slideLayouts/slideLayout578.xml"/><Relationship Id="rId24" Type="http://schemas.openxmlformats.org/officeDocument/2006/relationships/slideLayout" Target="../slideLayouts/slideLayout573.xml"/><Relationship Id="rId40" Type="http://schemas.openxmlformats.org/officeDocument/2006/relationships/slideLayout" Target="../slideLayouts/slideLayout589.xml"/><Relationship Id="rId45" Type="http://schemas.openxmlformats.org/officeDocument/2006/relationships/slideLayout" Target="../slideLayouts/slideLayout594.xml"/><Relationship Id="rId66" Type="http://schemas.openxmlformats.org/officeDocument/2006/relationships/slideLayout" Target="../slideLayouts/slideLayout615.xml"/><Relationship Id="rId87" Type="http://schemas.openxmlformats.org/officeDocument/2006/relationships/slideLayout" Target="../slideLayouts/slideLayout636.xml"/><Relationship Id="rId110" Type="http://schemas.openxmlformats.org/officeDocument/2006/relationships/slideLayout" Target="../slideLayouts/slideLayout659.xml"/><Relationship Id="rId115" Type="http://schemas.openxmlformats.org/officeDocument/2006/relationships/slideLayout" Target="../slideLayouts/slideLayout664.xml"/><Relationship Id="rId131" Type="http://schemas.openxmlformats.org/officeDocument/2006/relationships/slideLayout" Target="../slideLayouts/slideLayout680.xml"/><Relationship Id="rId136" Type="http://schemas.openxmlformats.org/officeDocument/2006/relationships/slideLayout" Target="../slideLayouts/slideLayout685.xml"/><Relationship Id="rId157" Type="http://schemas.openxmlformats.org/officeDocument/2006/relationships/slideLayout" Target="../slideLayouts/slideLayout706.xml"/><Relationship Id="rId61" Type="http://schemas.openxmlformats.org/officeDocument/2006/relationships/slideLayout" Target="../slideLayouts/slideLayout610.xml"/><Relationship Id="rId82" Type="http://schemas.openxmlformats.org/officeDocument/2006/relationships/slideLayout" Target="../slideLayouts/slideLayout631.xml"/><Relationship Id="rId152" Type="http://schemas.openxmlformats.org/officeDocument/2006/relationships/slideLayout" Target="../slideLayouts/slideLayout701.xml"/><Relationship Id="rId19" Type="http://schemas.openxmlformats.org/officeDocument/2006/relationships/slideLayout" Target="../slideLayouts/slideLayout568.xml"/><Relationship Id="rId14" Type="http://schemas.openxmlformats.org/officeDocument/2006/relationships/slideLayout" Target="../slideLayouts/slideLayout563.xml"/><Relationship Id="rId30" Type="http://schemas.openxmlformats.org/officeDocument/2006/relationships/slideLayout" Target="../slideLayouts/slideLayout579.xml"/><Relationship Id="rId35" Type="http://schemas.openxmlformats.org/officeDocument/2006/relationships/slideLayout" Target="../slideLayouts/slideLayout584.xml"/><Relationship Id="rId56" Type="http://schemas.openxmlformats.org/officeDocument/2006/relationships/slideLayout" Target="../slideLayouts/slideLayout605.xml"/><Relationship Id="rId77" Type="http://schemas.openxmlformats.org/officeDocument/2006/relationships/slideLayout" Target="../slideLayouts/slideLayout626.xml"/><Relationship Id="rId100" Type="http://schemas.openxmlformats.org/officeDocument/2006/relationships/slideLayout" Target="../slideLayouts/slideLayout649.xml"/><Relationship Id="rId105" Type="http://schemas.openxmlformats.org/officeDocument/2006/relationships/slideLayout" Target="../slideLayouts/slideLayout654.xml"/><Relationship Id="rId126" Type="http://schemas.openxmlformats.org/officeDocument/2006/relationships/slideLayout" Target="../slideLayouts/slideLayout675.xml"/><Relationship Id="rId147" Type="http://schemas.openxmlformats.org/officeDocument/2006/relationships/slideLayout" Target="../slideLayouts/slideLayout696.xml"/><Relationship Id="rId8" Type="http://schemas.openxmlformats.org/officeDocument/2006/relationships/slideLayout" Target="../slideLayouts/slideLayout557.xml"/><Relationship Id="rId51" Type="http://schemas.openxmlformats.org/officeDocument/2006/relationships/slideLayout" Target="../slideLayouts/slideLayout600.xml"/><Relationship Id="rId72" Type="http://schemas.openxmlformats.org/officeDocument/2006/relationships/slideLayout" Target="../slideLayouts/slideLayout621.xml"/><Relationship Id="rId93" Type="http://schemas.openxmlformats.org/officeDocument/2006/relationships/slideLayout" Target="../slideLayouts/slideLayout642.xml"/><Relationship Id="rId98" Type="http://schemas.openxmlformats.org/officeDocument/2006/relationships/slideLayout" Target="../slideLayouts/slideLayout647.xml"/><Relationship Id="rId121" Type="http://schemas.openxmlformats.org/officeDocument/2006/relationships/slideLayout" Target="../slideLayouts/slideLayout670.xml"/><Relationship Id="rId142" Type="http://schemas.openxmlformats.org/officeDocument/2006/relationships/slideLayout" Target="../slideLayouts/slideLayout691.xml"/><Relationship Id="rId163" Type="http://schemas.openxmlformats.org/officeDocument/2006/relationships/slideLayout" Target="../slideLayouts/slideLayout712.xml"/><Relationship Id="rId3" Type="http://schemas.openxmlformats.org/officeDocument/2006/relationships/slideLayout" Target="../slideLayouts/slideLayout552.xml"/><Relationship Id="rId25" Type="http://schemas.openxmlformats.org/officeDocument/2006/relationships/slideLayout" Target="../slideLayouts/slideLayout574.xml"/><Relationship Id="rId46" Type="http://schemas.openxmlformats.org/officeDocument/2006/relationships/slideLayout" Target="../slideLayouts/slideLayout595.xml"/><Relationship Id="rId67" Type="http://schemas.openxmlformats.org/officeDocument/2006/relationships/slideLayout" Target="../slideLayouts/slideLayout616.xml"/><Relationship Id="rId116" Type="http://schemas.openxmlformats.org/officeDocument/2006/relationships/slideLayout" Target="../slideLayouts/slideLayout665.xml"/><Relationship Id="rId137" Type="http://schemas.openxmlformats.org/officeDocument/2006/relationships/slideLayout" Target="../slideLayouts/slideLayout686.xml"/><Relationship Id="rId158" Type="http://schemas.openxmlformats.org/officeDocument/2006/relationships/slideLayout" Target="../slideLayouts/slideLayout707.xml"/><Relationship Id="rId20" Type="http://schemas.openxmlformats.org/officeDocument/2006/relationships/slideLayout" Target="../slideLayouts/slideLayout569.xml"/><Relationship Id="rId41" Type="http://schemas.openxmlformats.org/officeDocument/2006/relationships/slideLayout" Target="../slideLayouts/slideLayout590.xml"/><Relationship Id="rId62" Type="http://schemas.openxmlformats.org/officeDocument/2006/relationships/slideLayout" Target="../slideLayouts/slideLayout611.xml"/><Relationship Id="rId83" Type="http://schemas.openxmlformats.org/officeDocument/2006/relationships/slideLayout" Target="../slideLayouts/slideLayout632.xml"/><Relationship Id="rId88" Type="http://schemas.openxmlformats.org/officeDocument/2006/relationships/slideLayout" Target="../slideLayouts/slideLayout637.xml"/><Relationship Id="rId111" Type="http://schemas.openxmlformats.org/officeDocument/2006/relationships/slideLayout" Target="../slideLayouts/slideLayout660.xml"/><Relationship Id="rId132" Type="http://schemas.openxmlformats.org/officeDocument/2006/relationships/slideLayout" Target="../slideLayouts/slideLayout681.xml"/><Relationship Id="rId153" Type="http://schemas.openxmlformats.org/officeDocument/2006/relationships/slideLayout" Target="../slideLayouts/slideLayout702.xml"/><Relationship Id="rId15" Type="http://schemas.openxmlformats.org/officeDocument/2006/relationships/slideLayout" Target="../slideLayouts/slideLayout564.xml"/><Relationship Id="rId36" Type="http://schemas.openxmlformats.org/officeDocument/2006/relationships/slideLayout" Target="../slideLayouts/slideLayout585.xml"/><Relationship Id="rId57" Type="http://schemas.openxmlformats.org/officeDocument/2006/relationships/slideLayout" Target="../slideLayouts/slideLayout606.xml"/><Relationship Id="rId106" Type="http://schemas.openxmlformats.org/officeDocument/2006/relationships/slideLayout" Target="../slideLayouts/slideLayout655.xml"/><Relationship Id="rId127" Type="http://schemas.openxmlformats.org/officeDocument/2006/relationships/slideLayout" Target="../slideLayouts/slideLayout676.xml"/><Relationship Id="rId10" Type="http://schemas.openxmlformats.org/officeDocument/2006/relationships/slideLayout" Target="../slideLayouts/slideLayout559.xml"/><Relationship Id="rId31" Type="http://schemas.openxmlformats.org/officeDocument/2006/relationships/slideLayout" Target="../slideLayouts/slideLayout580.xml"/><Relationship Id="rId52" Type="http://schemas.openxmlformats.org/officeDocument/2006/relationships/slideLayout" Target="../slideLayouts/slideLayout601.xml"/><Relationship Id="rId73" Type="http://schemas.openxmlformats.org/officeDocument/2006/relationships/slideLayout" Target="../slideLayouts/slideLayout622.xml"/><Relationship Id="rId78" Type="http://schemas.openxmlformats.org/officeDocument/2006/relationships/slideLayout" Target="../slideLayouts/slideLayout627.xml"/><Relationship Id="rId94" Type="http://schemas.openxmlformats.org/officeDocument/2006/relationships/slideLayout" Target="../slideLayouts/slideLayout643.xml"/><Relationship Id="rId99" Type="http://schemas.openxmlformats.org/officeDocument/2006/relationships/slideLayout" Target="../slideLayouts/slideLayout648.xml"/><Relationship Id="rId101" Type="http://schemas.openxmlformats.org/officeDocument/2006/relationships/slideLayout" Target="../slideLayouts/slideLayout650.xml"/><Relationship Id="rId122" Type="http://schemas.openxmlformats.org/officeDocument/2006/relationships/slideLayout" Target="../slideLayouts/slideLayout671.xml"/><Relationship Id="rId143" Type="http://schemas.openxmlformats.org/officeDocument/2006/relationships/slideLayout" Target="../slideLayouts/slideLayout692.xml"/><Relationship Id="rId148" Type="http://schemas.openxmlformats.org/officeDocument/2006/relationships/slideLayout" Target="../slideLayouts/slideLayout697.xml"/><Relationship Id="rId164" Type="http://schemas.openxmlformats.org/officeDocument/2006/relationships/slideLayout" Target="../slideLayouts/slideLayout713.xml"/><Relationship Id="rId4" Type="http://schemas.openxmlformats.org/officeDocument/2006/relationships/slideLayout" Target="../slideLayouts/slideLayout553.xml"/><Relationship Id="rId9" Type="http://schemas.openxmlformats.org/officeDocument/2006/relationships/slideLayout" Target="../slideLayouts/slideLayout558.xml"/><Relationship Id="rId26" Type="http://schemas.openxmlformats.org/officeDocument/2006/relationships/slideLayout" Target="../slideLayouts/slideLayout575.xml"/><Relationship Id="rId47" Type="http://schemas.openxmlformats.org/officeDocument/2006/relationships/slideLayout" Target="../slideLayouts/slideLayout596.xml"/><Relationship Id="rId68" Type="http://schemas.openxmlformats.org/officeDocument/2006/relationships/slideLayout" Target="../slideLayouts/slideLayout617.xml"/><Relationship Id="rId89" Type="http://schemas.openxmlformats.org/officeDocument/2006/relationships/slideLayout" Target="../slideLayouts/slideLayout638.xml"/><Relationship Id="rId112" Type="http://schemas.openxmlformats.org/officeDocument/2006/relationships/slideLayout" Target="../slideLayouts/slideLayout661.xml"/><Relationship Id="rId133" Type="http://schemas.openxmlformats.org/officeDocument/2006/relationships/slideLayout" Target="../slideLayouts/slideLayout682.xml"/><Relationship Id="rId154" Type="http://schemas.openxmlformats.org/officeDocument/2006/relationships/slideLayout" Target="../slideLayouts/slideLayout703.xml"/><Relationship Id="rId16" Type="http://schemas.openxmlformats.org/officeDocument/2006/relationships/slideLayout" Target="../slideLayouts/slideLayout565.xml"/><Relationship Id="rId37" Type="http://schemas.openxmlformats.org/officeDocument/2006/relationships/slideLayout" Target="../slideLayouts/slideLayout586.xml"/><Relationship Id="rId58" Type="http://schemas.openxmlformats.org/officeDocument/2006/relationships/slideLayout" Target="../slideLayouts/slideLayout607.xml"/><Relationship Id="rId79" Type="http://schemas.openxmlformats.org/officeDocument/2006/relationships/slideLayout" Target="../slideLayouts/slideLayout628.xml"/><Relationship Id="rId102" Type="http://schemas.openxmlformats.org/officeDocument/2006/relationships/slideLayout" Target="../slideLayouts/slideLayout651.xml"/><Relationship Id="rId123" Type="http://schemas.openxmlformats.org/officeDocument/2006/relationships/slideLayout" Target="../slideLayouts/slideLayout672.xml"/><Relationship Id="rId144" Type="http://schemas.openxmlformats.org/officeDocument/2006/relationships/slideLayout" Target="../slideLayouts/slideLayout693.xml"/><Relationship Id="rId90" Type="http://schemas.openxmlformats.org/officeDocument/2006/relationships/slideLayout" Target="../slideLayouts/slideLayout639.xml"/><Relationship Id="rId165" Type="http://schemas.openxmlformats.org/officeDocument/2006/relationships/slideLayout" Target="../slideLayouts/slideLayout714.xml"/><Relationship Id="rId27" Type="http://schemas.openxmlformats.org/officeDocument/2006/relationships/slideLayout" Target="../slideLayouts/slideLayout576.xml"/><Relationship Id="rId48" Type="http://schemas.openxmlformats.org/officeDocument/2006/relationships/slideLayout" Target="../slideLayouts/slideLayout597.xml"/><Relationship Id="rId69" Type="http://schemas.openxmlformats.org/officeDocument/2006/relationships/slideLayout" Target="../slideLayouts/slideLayout618.xml"/><Relationship Id="rId113" Type="http://schemas.openxmlformats.org/officeDocument/2006/relationships/slideLayout" Target="../slideLayouts/slideLayout662.xml"/><Relationship Id="rId134" Type="http://schemas.openxmlformats.org/officeDocument/2006/relationships/slideLayout" Target="../slideLayouts/slideLayout683.xml"/><Relationship Id="rId80" Type="http://schemas.openxmlformats.org/officeDocument/2006/relationships/slideLayout" Target="../slideLayouts/slideLayout629.xml"/><Relationship Id="rId155" Type="http://schemas.openxmlformats.org/officeDocument/2006/relationships/slideLayout" Target="../slideLayouts/slideLayout704.xml"/></Relationships>
</file>

<file path=ppt/slideMasters/_rels/slideMaster24.xml.rels><?xml version="1.0" encoding="UTF-8" standalone="yes"?>
<Relationships xmlns="http://schemas.openxmlformats.org/package/2006/relationships"><Relationship Id="rId117" Type="http://schemas.openxmlformats.org/officeDocument/2006/relationships/slideLayout" Target="../slideLayouts/slideLayout831.xml"/><Relationship Id="rId21" Type="http://schemas.openxmlformats.org/officeDocument/2006/relationships/slideLayout" Target="../slideLayouts/slideLayout735.xml"/><Relationship Id="rId42" Type="http://schemas.openxmlformats.org/officeDocument/2006/relationships/slideLayout" Target="../slideLayouts/slideLayout756.xml"/><Relationship Id="rId63" Type="http://schemas.openxmlformats.org/officeDocument/2006/relationships/slideLayout" Target="../slideLayouts/slideLayout777.xml"/><Relationship Id="rId84" Type="http://schemas.openxmlformats.org/officeDocument/2006/relationships/slideLayout" Target="../slideLayouts/slideLayout798.xml"/><Relationship Id="rId138" Type="http://schemas.openxmlformats.org/officeDocument/2006/relationships/slideLayout" Target="../slideLayouts/slideLayout852.xml"/><Relationship Id="rId159" Type="http://schemas.openxmlformats.org/officeDocument/2006/relationships/slideLayout" Target="../slideLayouts/slideLayout873.xml"/><Relationship Id="rId107" Type="http://schemas.openxmlformats.org/officeDocument/2006/relationships/slideLayout" Target="../slideLayouts/slideLayout821.xml"/><Relationship Id="rId11" Type="http://schemas.openxmlformats.org/officeDocument/2006/relationships/slideLayout" Target="../slideLayouts/slideLayout725.xml"/><Relationship Id="rId32" Type="http://schemas.openxmlformats.org/officeDocument/2006/relationships/slideLayout" Target="../slideLayouts/slideLayout746.xml"/><Relationship Id="rId53" Type="http://schemas.openxmlformats.org/officeDocument/2006/relationships/slideLayout" Target="../slideLayouts/slideLayout767.xml"/><Relationship Id="rId74" Type="http://schemas.openxmlformats.org/officeDocument/2006/relationships/slideLayout" Target="../slideLayouts/slideLayout788.xml"/><Relationship Id="rId128" Type="http://schemas.openxmlformats.org/officeDocument/2006/relationships/slideLayout" Target="../slideLayouts/slideLayout842.xml"/><Relationship Id="rId149" Type="http://schemas.openxmlformats.org/officeDocument/2006/relationships/slideLayout" Target="../slideLayouts/slideLayout863.xml"/><Relationship Id="rId5" Type="http://schemas.openxmlformats.org/officeDocument/2006/relationships/slideLayout" Target="../slideLayouts/slideLayout719.xml"/><Relationship Id="rId95" Type="http://schemas.openxmlformats.org/officeDocument/2006/relationships/slideLayout" Target="../slideLayouts/slideLayout809.xml"/><Relationship Id="rId160" Type="http://schemas.openxmlformats.org/officeDocument/2006/relationships/slideLayout" Target="../slideLayouts/slideLayout874.xml"/><Relationship Id="rId22" Type="http://schemas.openxmlformats.org/officeDocument/2006/relationships/slideLayout" Target="../slideLayouts/slideLayout736.xml"/><Relationship Id="rId43" Type="http://schemas.openxmlformats.org/officeDocument/2006/relationships/slideLayout" Target="../slideLayouts/slideLayout757.xml"/><Relationship Id="rId64" Type="http://schemas.openxmlformats.org/officeDocument/2006/relationships/slideLayout" Target="../slideLayouts/slideLayout778.xml"/><Relationship Id="rId118" Type="http://schemas.openxmlformats.org/officeDocument/2006/relationships/slideLayout" Target="../slideLayouts/slideLayout832.xml"/><Relationship Id="rId139" Type="http://schemas.openxmlformats.org/officeDocument/2006/relationships/slideLayout" Target="../slideLayouts/slideLayout853.xml"/><Relationship Id="rId85" Type="http://schemas.openxmlformats.org/officeDocument/2006/relationships/slideLayout" Target="../slideLayouts/slideLayout799.xml"/><Relationship Id="rId150" Type="http://schemas.openxmlformats.org/officeDocument/2006/relationships/slideLayout" Target="../slideLayouts/slideLayout864.xml"/><Relationship Id="rId12" Type="http://schemas.openxmlformats.org/officeDocument/2006/relationships/slideLayout" Target="../slideLayouts/slideLayout726.xml"/><Relationship Id="rId17" Type="http://schemas.openxmlformats.org/officeDocument/2006/relationships/slideLayout" Target="../slideLayouts/slideLayout731.xml"/><Relationship Id="rId33" Type="http://schemas.openxmlformats.org/officeDocument/2006/relationships/slideLayout" Target="../slideLayouts/slideLayout747.xml"/><Relationship Id="rId38" Type="http://schemas.openxmlformats.org/officeDocument/2006/relationships/slideLayout" Target="../slideLayouts/slideLayout752.xml"/><Relationship Id="rId59" Type="http://schemas.openxmlformats.org/officeDocument/2006/relationships/slideLayout" Target="../slideLayouts/slideLayout773.xml"/><Relationship Id="rId103" Type="http://schemas.openxmlformats.org/officeDocument/2006/relationships/slideLayout" Target="../slideLayouts/slideLayout817.xml"/><Relationship Id="rId108" Type="http://schemas.openxmlformats.org/officeDocument/2006/relationships/slideLayout" Target="../slideLayouts/slideLayout822.xml"/><Relationship Id="rId124" Type="http://schemas.openxmlformats.org/officeDocument/2006/relationships/slideLayout" Target="../slideLayouts/slideLayout838.xml"/><Relationship Id="rId129" Type="http://schemas.openxmlformats.org/officeDocument/2006/relationships/slideLayout" Target="../slideLayouts/slideLayout843.xml"/><Relationship Id="rId54" Type="http://schemas.openxmlformats.org/officeDocument/2006/relationships/slideLayout" Target="../slideLayouts/slideLayout768.xml"/><Relationship Id="rId70" Type="http://schemas.openxmlformats.org/officeDocument/2006/relationships/slideLayout" Target="../slideLayouts/slideLayout784.xml"/><Relationship Id="rId75" Type="http://schemas.openxmlformats.org/officeDocument/2006/relationships/slideLayout" Target="../slideLayouts/slideLayout789.xml"/><Relationship Id="rId91" Type="http://schemas.openxmlformats.org/officeDocument/2006/relationships/slideLayout" Target="../slideLayouts/slideLayout805.xml"/><Relationship Id="rId96" Type="http://schemas.openxmlformats.org/officeDocument/2006/relationships/slideLayout" Target="../slideLayouts/slideLayout810.xml"/><Relationship Id="rId140" Type="http://schemas.openxmlformats.org/officeDocument/2006/relationships/slideLayout" Target="../slideLayouts/slideLayout854.xml"/><Relationship Id="rId145" Type="http://schemas.openxmlformats.org/officeDocument/2006/relationships/slideLayout" Target="../slideLayouts/slideLayout859.xml"/><Relationship Id="rId161" Type="http://schemas.openxmlformats.org/officeDocument/2006/relationships/slideLayout" Target="../slideLayouts/slideLayout875.xml"/><Relationship Id="rId166" Type="http://schemas.openxmlformats.org/officeDocument/2006/relationships/theme" Target="../theme/theme24.xml"/><Relationship Id="rId1" Type="http://schemas.openxmlformats.org/officeDocument/2006/relationships/slideLayout" Target="../slideLayouts/slideLayout715.xml"/><Relationship Id="rId6" Type="http://schemas.openxmlformats.org/officeDocument/2006/relationships/slideLayout" Target="../slideLayouts/slideLayout720.xml"/><Relationship Id="rId23" Type="http://schemas.openxmlformats.org/officeDocument/2006/relationships/slideLayout" Target="../slideLayouts/slideLayout737.xml"/><Relationship Id="rId28" Type="http://schemas.openxmlformats.org/officeDocument/2006/relationships/slideLayout" Target="../slideLayouts/slideLayout742.xml"/><Relationship Id="rId49" Type="http://schemas.openxmlformats.org/officeDocument/2006/relationships/slideLayout" Target="../slideLayouts/slideLayout763.xml"/><Relationship Id="rId114" Type="http://schemas.openxmlformats.org/officeDocument/2006/relationships/slideLayout" Target="../slideLayouts/slideLayout828.xml"/><Relationship Id="rId119" Type="http://schemas.openxmlformats.org/officeDocument/2006/relationships/slideLayout" Target="../slideLayouts/slideLayout833.xml"/><Relationship Id="rId44" Type="http://schemas.openxmlformats.org/officeDocument/2006/relationships/slideLayout" Target="../slideLayouts/slideLayout758.xml"/><Relationship Id="rId60" Type="http://schemas.openxmlformats.org/officeDocument/2006/relationships/slideLayout" Target="../slideLayouts/slideLayout774.xml"/><Relationship Id="rId65" Type="http://schemas.openxmlformats.org/officeDocument/2006/relationships/slideLayout" Target="../slideLayouts/slideLayout779.xml"/><Relationship Id="rId81" Type="http://schemas.openxmlformats.org/officeDocument/2006/relationships/slideLayout" Target="../slideLayouts/slideLayout795.xml"/><Relationship Id="rId86" Type="http://schemas.openxmlformats.org/officeDocument/2006/relationships/slideLayout" Target="../slideLayouts/slideLayout800.xml"/><Relationship Id="rId130" Type="http://schemas.openxmlformats.org/officeDocument/2006/relationships/slideLayout" Target="../slideLayouts/slideLayout844.xml"/><Relationship Id="rId135" Type="http://schemas.openxmlformats.org/officeDocument/2006/relationships/slideLayout" Target="../slideLayouts/slideLayout849.xml"/><Relationship Id="rId151" Type="http://schemas.openxmlformats.org/officeDocument/2006/relationships/slideLayout" Target="../slideLayouts/slideLayout865.xml"/><Relationship Id="rId156" Type="http://schemas.openxmlformats.org/officeDocument/2006/relationships/slideLayout" Target="../slideLayouts/slideLayout870.xml"/><Relationship Id="rId13" Type="http://schemas.openxmlformats.org/officeDocument/2006/relationships/slideLayout" Target="../slideLayouts/slideLayout727.xml"/><Relationship Id="rId18" Type="http://schemas.openxmlformats.org/officeDocument/2006/relationships/slideLayout" Target="../slideLayouts/slideLayout732.xml"/><Relationship Id="rId39" Type="http://schemas.openxmlformats.org/officeDocument/2006/relationships/slideLayout" Target="../slideLayouts/slideLayout753.xml"/><Relationship Id="rId109" Type="http://schemas.openxmlformats.org/officeDocument/2006/relationships/slideLayout" Target="../slideLayouts/slideLayout823.xml"/><Relationship Id="rId34" Type="http://schemas.openxmlformats.org/officeDocument/2006/relationships/slideLayout" Target="../slideLayouts/slideLayout748.xml"/><Relationship Id="rId50" Type="http://schemas.openxmlformats.org/officeDocument/2006/relationships/slideLayout" Target="../slideLayouts/slideLayout764.xml"/><Relationship Id="rId55" Type="http://schemas.openxmlformats.org/officeDocument/2006/relationships/slideLayout" Target="../slideLayouts/slideLayout769.xml"/><Relationship Id="rId76" Type="http://schemas.openxmlformats.org/officeDocument/2006/relationships/slideLayout" Target="../slideLayouts/slideLayout790.xml"/><Relationship Id="rId97" Type="http://schemas.openxmlformats.org/officeDocument/2006/relationships/slideLayout" Target="../slideLayouts/slideLayout811.xml"/><Relationship Id="rId104" Type="http://schemas.openxmlformats.org/officeDocument/2006/relationships/slideLayout" Target="../slideLayouts/slideLayout818.xml"/><Relationship Id="rId120" Type="http://schemas.openxmlformats.org/officeDocument/2006/relationships/slideLayout" Target="../slideLayouts/slideLayout834.xml"/><Relationship Id="rId125" Type="http://schemas.openxmlformats.org/officeDocument/2006/relationships/slideLayout" Target="../slideLayouts/slideLayout839.xml"/><Relationship Id="rId141" Type="http://schemas.openxmlformats.org/officeDocument/2006/relationships/slideLayout" Target="../slideLayouts/slideLayout855.xml"/><Relationship Id="rId146" Type="http://schemas.openxmlformats.org/officeDocument/2006/relationships/slideLayout" Target="../slideLayouts/slideLayout860.xml"/><Relationship Id="rId7" Type="http://schemas.openxmlformats.org/officeDocument/2006/relationships/slideLayout" Target="../slideLayouts/slideLayout721.xml"/><Relationship Id="rId71" Type="http://schemas.openxmlformats.org/officeDocument/2006/relationships/slideLayout" Target="../slideLayouts/slideLayout785.xml"/><Relationship Id="rId92" Type="http://schemas.openxmlformats.org/officeDocument/2006/relationships/slideLayout" Target="../slideLayouts/slideLayout806.xml"/><Relationship Id="rId162" Type="http://schemas.openxmlformats.org/officeDocument/2006/relationships/slideLayout" Target="../slideLayouts/slideLayout876.xml"/><Relationship Id="rId2" Type="http://schemas.openxmlformats.org/officeDocument/2006/relationships/slideLayout" Target="../slideLayouts/slideLayout716.xml"/><Relationship Id="rId29" Type="http://schemas.openxmlformats.org/officeDocument/2006/relationships/slideLayout" Target="../slideLayouts/slideLayout743.xml"/><Relationship Id="rId24" Type="http://schemas.openxmlformats.org/officeDocument/2006/relationships/slideLayout" Target="../slideLayouts/slideLayout738.xml"/><Relationship Id="rId40" Type="http://schemas.openxmlformats.org/officeDocument/2006/relationships/slideLayout" Target="../slideLayouts/slideLayout754.xml"/><Relationship Id="rId45" Type="http://schemas.openxmlformats.org/officeDocument/2006/relationships/slideLayout" Target="../slideLayouts/slideLayout759.xml"/><Relationship Id="rId66" Type="http://schemas.openxmlformats.org/officeDocument/2006/relationships/slideLayout" Target="../slideLayouts/slideLayout780.xml"/><Relationship Id="rId87" Type="http://schemas.openxmlformats.org/officeDocument/2006/relationships/slideLayout" Target="../slideLayouts/slideLayout801.xml"/><Relationship Id="rId110" Type="http://schemas.openxmlformats.org/officeDocument/2006/relationships/slideLayout" Target="../slideLayouts/slideLayout824.xml"/><Relationship Id="rId115" Type="http://schemas.openxmlformats.org/officeDocument/2006/relationships/slideLayout" Target="../slideLayouts/slideLayout829.xml"/><Relationship Id="rId131" Type="http://schemas.openxmlformats.org/officeDocument/2006/relationships/slideLayout" Target="../slideLayouts/slideLayout845.xml"/><Relationship Id="rId136" Type="http://schemas.openxmlformats.org/officeDocument/2006/relationships/slideLayout" Target="../slideLayouts/slideLayout850.xml"/><Relationship Id="rId157" Type="http://schemas.openxmlformats.org/officeDocument/2006/relationships/slideLayout" Target="../slideLayouts/slideLayout871.xml"/><Relationship Id="rId61" Type="http://schemas.openxmlformats.org/officeDocument/2006/relationships/slideLayout" Target="../slideLayouts/slideLayout775.xml"/><Relationship Id="rId82" Type="http://schemas.openxmlformats.org/officeDocument/2006/relationships/slideLayout" Target="../slideLayouts/slideLayout796.xml"/><Relationship Id="rId152" Type="http://schemas.openxmlformats.org/officeDocument/2006/relationships/slideLayout" Target="../slideLayouts/slideLayout866.xml"/><Relationship Id="rId19" Type="http://schemas.openxmlformats.org/officeDocument/2006/relationships/slideLayout" Target="../slideLayouts/slideLayout733.xml"/><Relationship Id="rId14" Type="http://schemas.openxmlformats.org/officeDocument/2006/relationships/slideLayout" Target="../slideLayouts/slideLayout728.xml"/><Relationship Id="rId30" Type="http://schemas.openxmlformats.org/officeDocument/2006/relationships/slideLayout" Target="../slideLayouts/slideLayout744.xml"/><Relationship Id="rId35" Type="http://schemas.openxmlformats.org/officeDocument/2006/relationships/slideLayout" Target="../slideLayouts/slideLayout749.xml"/><Relationship Id="rId56" Type="http://schemas.openxmlformats.org/officeDocument/2006/relationships/slideLayout" Target="../slideLayouts/slideLayout770.xml"/><Relationship Id="rId77" Type="http://schemas.openxmlformats.org/officeDocument/2006/relationships/slideLayout" Target="../slideLayouts/slideLayout791.xml"/><Relationship Id="rId100" Type="http://schemas.openxmlformats.org/officeDocument/2006/relationships/slideLayout" Target="../slideLayouts/slideLayout814.xml"/><Relationship Id="rId105" Type="http://schemas.openxmlformats.org/officeDocument/2006/relationships/slideLayout" Target="../slideLayouts/slideLayout819.xml"/><Relationship Id="rId126" Type="http://schemas.openxmlformats.org/officeDocument/2006/relationships/slideLayout" Target="../slideLayouts/slideLayout840.xml"/><Relationship Id="rId147" Type="http://schemas.openxmlformats.org/officeDocument/2006/relationships/slideLayout" Target="../slideLayouts/slideLayout861.xml"/><Relationship Id="rId8" Type="http://schemas.openxmlformats.org/officeDocument/2006/relationships/slideLayout" Target="../slideLayouts/slideLayout722.xml"/><Relationship Id="rId51" Type="http://schemas.openxmlformats.org/officeDocument/2006/relationships/slideLayout" Target="../slideLayouts/slideLayout765.xml"/><Relationship Id="rId72" Type="http://schemas.openxmlformats.org/officeDocument/2006/relationships/slideLayout" Target="../slideLayouts/slideLayout786.xml"/><Relationship Id="rId93" Type="http://schemas.openxmlformats.org/officeDocument/2006/relationships/slideLayout" Target="../slideLayouts/slideLayout807.xml"/><Relationship Id="rId98" Type="http://schemas.openxmlformats.org/officeDocument/2006/relationships/slideLayout" Target="../slideLayouts/slideLayout812.xml"/><Relationship Id="rId121" Type="http://schemas.openxmlformats.org/officeDocument/2006/relationships/slideLayout" Target="../slideLayouts/slideLayout835.xml"/><Relationship Id="rId142" Type="http://schemas.openxmlformats.org/officeDocument/2006/relationships/slideLayout" Target="../slideLayouts/slideLayout856.xml"/><Relationship Id="rId163" Type="http://schemas.openxmlformats.org/officeDocument/2006/relationships/slideLayout" Target="../slideLayouts/slideLayout877.xml"/><Relationship Id="rId3" Type="http://schemas.openxmlformats.org/officeDocument/2006/relationships/slideLayout" Target="../slideLayouts/slideLayout717.xml"/><Relationship Id="rId25" Type="http://schemas.openxmlformats.org/officeDocument/2006/relationships/slideLayout" Target="../slideLayouts/slideLayout739.xml"/><Relationship Id="rId46" Type="http://schemas.openxmlformats.org/officeDocument/2006/relationships/slideLayout" Target="../slideLayouts/slideLayout760.xml"/><Relationship Id="rId67" Type="http://schemas.openxmlformats.org/officeDocument/2006/relationships/slideLayout" Target="../slideLayouts/slideLayout781.xml"/><Relationship Id="rId116" Type="http://schemas.openxmlformats.org/officeDocument/2006/relationships/slideLayout" Target="../slideLayouts/slideLayout830.xml"/><Relationship Id="rId137" Type="http://schemas.openxmlformats.org/officeDocument/2006/relationships/slideLayout" Target="../slideLayouts/slideLayout851.xml"/><Relationship Id="rId158" Type="http://schemas.openxmlformats.org/officeDocument/2006/relationships/slideLayout" Target="../slideLayouts/slideLayout872.xml"/><Relationship Id="rId20" Type="http://schemas.openxmlformats.org/officeDocument/2006/relationships/slideLayout" Target="../slideLayouts/slideLayout734.xml"/><Relationship Id="rId41" Type="http://schemas.openxmlformats.org/officeDocument/2006/relationships/slideLayout" Target="../slideLayouts/slideLayout755.xml"/><Relationship Id="rId62" Type="http://schemas.openxmlformats.org/officeDocument/2006/relationships/slideLayout" Target="../slideLayouts/slideLayout776.xml"/><Relationship Id="rId83" Type="http://schemas.openxmlformats.org/officeDocument/2006/relationships/slideLayout" Target="../slideLayouts/slideLayout797.xml"/><Relationship Id="rId88" Type="http://schemas.openxmlformats.org/officeDocument/2006/relationships/slideLayout" Target="../slideLayouts/slideLayout802.xml"/><Relationship Id="rId111" Type="http://schemas.openxmlformats.org/officeDocument/2006/relationships/slideLayout" Target="../slideLayouts/slideLayout825.xml"/><Relationship Id="rId132" Type="http://schemas.openxmlformats.org/officeDocument/2006/relationships/slideLayout" Target="../slideLayouts/slideLayout846.xml"/><Relationship Id="rId153" Type="http://schemas.openxmlformats.org/officeDocument/2006/relationships/slideLayout" Target="../slideLayouts/slideLayout867.xml"/><Relationship Id="rId15" Type="http://schemas.openxmlformats.org/officeDocument/2006/relationships/slideLayout" Target="../slideLayouts/slideLayout729.xml"/><Relationship Id="rId36" Type="http://schemas.openxmlformats.org/officeDocument/2006/relationships/slideLayout" Target="../slideLayouts/slideLayout750.xml"/><Relationship Id="rId57" Type="http://schemas.openxmlformats.org/officeDocument/2006/relationships/slideLayout" Target="../slideLayouts/slideLayout771.xml"/><Relationship Id="rId106" Type="http://schemas.openxmlformats.org/officeDocument/2006/relationships/slideLayout" Target="../slideLayouts/slideLayout820.xml"/><Relationship Id="rId127" Type="http://schemas.openxmlformats.org/officeDocument/2006/relationships/slideLayout" Target="../slideLayouts/slideLayout841.xml"/><Relationship Id="rId10" Type="http://schemas.openxmlformats.org/officeDocument/2006/relationships/slideLayout" Target="../slideLayouts/slideLayout724.xml"/><Relationship Id="rId31" Type="http://schemas.openxmlformats.org/officeDocument/2006/relationships/slideLayout" Target="../slideLayouts/slideLayout745.xml"/><Relationship Id="rId52" Type="http://schemas.openxmlformats.org/officeDocument/2006/relationships/slideLayout" Target="../slideLayouts/slideLayout766.xml"/><Relationship Id="rId73" Type="http://schemas.openxmlformats.org/officeDocument/2006/relationships/slideLayout" Target="../slideLayouts/slideLayout787.xml"/><Relationship Id="rId78" Type="http://schemas.openxmlformats.org/officeDocument/2006/relationships/slideLayout" Target="../slideLayouts/slideLayout792.xml"/><Relationship Id="rId94" Type="http://schemas.openxmlformats.org/officeDocument/2006/relationships/slideLayout" Target="../slideLayouts/slideLayout808.xml"/><Relationship Id="rId99" Type="http://schemas.openxmlformats.org/officeDocument/2006/relationships/slideLayout" Target="../slideLayouts/slideLayout813.xml"/><Relationship Id="rId101" Type="http://schemas.openxmlformats.org/officeDocument/2006/relationships/slideLayout" Target="../slideLayouts/slideLayout815.xml"/><Relationship Id="rId122" Type="http://schemas.openxmlformats.org/officeDocument/2006/relationships/slideLayout" Target="../slideLayouts/slideLayout836.xml"/><Relationship Id="rId143" Type="http://schemas.openxmlformats.org/officeDocument/2006/relationships/slideLayout" Target="../slideLayouts/slideLayout857.xml"/><Relationship Id="rId148" Type="http://schemas.openxmlformats.org/officeDocument/2006/relationships/slideLayout" Target="../slideLayouts/slideLayout862.xml"/><Relationship Id="rId164" Type="http://schemas.openxmlformats.org/officeDocument/2006/relationships/slideLayout" Target="../slideLayouts/slideLayout878.xml"/><Relationship Id="rId4" Type="http://schemas.openxmlformats.org/officeDocument/2006/relationships/slideLayout" Target="../slideLayouts/slideLayout718.xml"/><Relationship Id="rId9" Type="http://schemas.openxmlformats.org/officeDocument/2006/relationships/slideLayout" Target="../slideLayouts/slideLayout723.xml"/><Relationship Id="rId26" Type="http://schemas.openxmlformats.org/officeDocument/2006/relationships/slideLayout" Target="../slideLayouts/slideLayout740.xml"/><Relationship Id="rId47" Type="http://schemas.openxmlformats.org/officeDocument/2006/relationships/slideLayout" Target="../slideLayouts/slideLayout761.xml"/><Relationship Id="rId68" Type="http://schemas.openxmlformats.org/officeDocument/2006/relationships/slideLayout" Target="../slideLayouts/slideLayout782.xml"/><Relationship Id="rId89" Type="http://schemas.openxmlformats.org/officeDocument/2006/relationships/slideLayout" Target="../slideLayouts/slideLayout803.xml"/><Relationship Id="rId112" Type="http://schemas.openxmlformats.org/officeDocument/2006/relationships/slideLayout" Target="../slideLayouts/slideLayout826.xml"/><Relationship Id="rId133" Type="http://schemas.openxmlformats.org/officeDocument/2006/relationships/slideLayout" Target="../slideLayouts/slideLayout847.xml"/><Relationship Id="rId154" Type="http://schemas.openxmlformats.org/officeDocument/2006/relationships/slideLayout" Target="../slideLayouts/slideLayout868.xml"/><Relationship Id="rId16" Type="http://schemas.openxmlformats.org/officeDocument/2006/relationships/slideLayout" Target="../slideLayouts/slideLayout730.xml"/><Relationship Id="rId37" Type="http://schemas.openxmlformats.org/officeDocument/2006/relationships/slideLayout" Target="../slideLayouts/slideLayout751.xml"/><Relationship Id="rId58" Type="http://schemas.openxmlformats.org/officeDocument/2006/relationships/slideLayout" Target="../slideLayouts/slideLayout772.xml"/><Relationship Id="rId79" Type="http://schemas.openxmlformats.org/officeDocument/2006/relationships/slideLayout" Target="../slideLayouts/slideLayout793.xml"/><Relationship Id="rId102" Type="http://schemas.openxmlformats.org/officeDocument/2006/relationships/slideLayout" Target="../slideLayouts/slideLayout816.xml"/><Relationship Id="rId123" Type="http://schemas.openxmlformats.org/officeDocument/2006/relationships/slideLayout" Target="../slideLayouts/slideLayout837.xml"/><Relationship Id="rId144" Type="http://schemas.openxmlformats.org/officeDocument/2006/relationships/slideLayout" Target="../slideLayouts/slideLayout858.xml"/><Relationship Id="rId90" Type="http://schemas.openxmlformats.org/officeDocument/2006/relationships/slideLayout" Target="../slideLayouts/slideLayout804.xml"/><Relationship Id="rId165" Type="http://schemas.openxmlformats.org/officeDocument/2006/relationships/slideLayout" Target="../slideLayouts/slideLayout879.xml"/><Relationship Id="rId27" Type="http://schemas.openxmlformats.org/officeDocument/2006/relationships/slideLayout" Target="../slideLayouts/slideLayout741.xml"/><Relationship Id="rId48" Type="http://schemas.openxmlformats.org/officeDocument/2006/relationships/slideLayout" Target="../slideLayouts/slideLayout762.xml"/><Relationship Id="rId69" Type="http://schemas.openxmlformats.org/officeDocument/2006/relationships/slideLayout" Target="../slideLayouts/slideLayout783.xml"/><Relationship Id="rId113" Type="http://schemas.openxmlformats.org/officeDocument/2006/relationships/slideLayout" Target="../slideLayouts/slideLayout827.xml"/><Relationship Id="rId134" Type="http://schemas.openxmlformats.org/officeDocument/2006/relationships/slideLayout" Target="../slideLayouts/slideLayout848.xml"/><Relationship Id="rId80" Type="http://schemas.openxmlformats.org/officeDocument/2006/relationships/slideLayout" Target="../slideLayouts/slideLayout794.xml"/><Relationship Id="rId155" Type="http://schemas.openxmlformats.org/officeDocument/2006/relationships/slideLayout" Target="../slideLayouts/slideLayout86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heme" Target="../theme/theme3.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image" Target="../media/image43.jpeg"/><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image" Target="../media/image4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3.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theme" Target="../theme/theme4.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theme" Target="../theme/theme5.xml"/><Relationship Id="rId1" Type="http://schemas.openxmlformats.org/officeDocument/2006/relationships/slideLayout" Target="../slideLayouts/slideLayout227.xml"/><Relationship Id="rId4" Type="http://schemas.openxmlformats.org/officeDocument/2006/relationships/image" Target="../media/image42.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35.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theme" Target="../theme/theme6.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image" Target="../media/image42.jpeg"/><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theme" Target="../theme/theme7.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image" Target="../media/image4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theme" Target="../theme/theme9.xml"/><Relationship Id="rId1" Type="http://schemas.openxmlformats.org/officeDocument/2006/relationships/slideLayout" Target="../slideLayouts/slideLayout263.xml"/><Relationship Id="rId4" Type="http://schemas.openxmlformats.org/officeDocument/2006/relationships/image" Target="../media/image4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943894717"/>
      </p:ext>
    </p:extLst>
  </p:cSld>
  <p:clrMap bg1="lt1" tx1="dk1" bg2="lt2" tx2="dk2" accent1="accent1" accent2="accent2" accent3="accent3" accent4="accent4" accent5="accent5" accent6="accent6" hlink="hlink" folHlink="folHlink"/>
  <p:sldLayoutIdLst>
    <p:sldLayoutId id="2147484596" r:id="rId1"/>
    <p:sldLayoutId id="2147484835" r:id="rId2"/>
    <p:sldLayoutId id="2147484598" r:id="rId3"/>
    <p:sldLayoutId id="2147484626" r:id="rId4"/>
    <p:sldLayoutId id="2147484836" r:id="rId5"/>
    <p:sldLayoutId id="2147484837" r:id="rId6"/>
    <p:sldLayoutId id="2147484601" r:id="rId7"/>
    <p:sldLayoutId id="2147484602" r:id="rId8"/>
    <p:sldLayoutId id="2147484603" r:id="rId9"/>
    <p:sldLayoutId id="2147484604" r:id="rId10"/>
    <p:sldLayoutId id="2147484839" r:id="rId11"/>
    <p:sldLayoutId id="2147484385" r:id="rId12"/>
    <p:sldLayoutId id="2147484387" r:id="rId13"/>
    <p:sldLayoutId id="2147484390" r:id="rId14"/>
    <p:sldLayoutId id="2147484597" r:id="rId15"/>
    <p:sldLayoutId id="2147484599" r:id="rId16"/>
    <p:sldLayoutId id="2147484600" r:id="rId17"/>
    <p:sldLayoutId id="2147484624" r:id="rId18"/>
    <p:sldLayoutId id="2147484628" r:id="rId19"/>
    <p:sldLayoutId id="2147484353" r:id="rId20"/>
    <p:sldLayoutId id="2147484627" r:id="rId21"/>
    <p:sldLayoutId id="2147484354" r:id="rId22"/>
    <p:sldLayoutId id="2147484838" r:id="rId23"/>
    <p:sldLayoutId id="2147484559" r:id="rId24"/>
    <p:sldLayoutId id="2147484355" r:id="rId25"/>
    <p:sldLayoutId id="2147484356" r:id="rId26"/>
    <p:sldLayoutId id="2147484357" r:id="rId27"/>
    <p:sldLayoutId id="2147484358" r:id="rId28"/>
    <p:sldLayoutId id="2147484634" r:id="rId29"/>
    <p:sldLayoutId id="2147484635" r:id="rId30"/>
    <p:sldLayoutId id="2147484238" r:id="rId31"/>
    <p:sldLayoutId id="2147484200" r:id="rId32"/>
    <p:sldLayoutId id="2147484840" r:id="rId33"/>
    <p:sldLayoutId id="2147484202" r:id="rId34"/>
    <p:sldLayoutId id="2147484203" r:id="rId35"/>
    <p:sldLayoutId id="2147484204" r:id="rId36"/>
    <p:sldLayoutId id="2147484205" r:id="rId37"/>
    <p:sldLayoutId id="2147484206" r:id="rId38"/>
    <p:sldLayoutId id="2147484237" r:id="rId39"/>
    <p:sldLayoutId id="2147484208" r:id="rId40"/>
    <p:sldLayoutId id="2147484359" r:id="rId41"/>
    <p:sldLayoutId id="2147484360" r:id="rId42"/>
    <p:sldLayoutId id="2147484361" r:id="rId43"/>
    <p:sldLayoutId id="2147484841" r:id="rId44"/>
    <p:sldLayoutId id="2147484842" r:id="rId45"/>
    <p:sldLayoutId id="2147484362" r:id="rId46"/>
    <p:sldLayoutId id="2147484363" r:id="rId47"/>
    <p:sldLayoutId id="2147484364" r:id="rId48"/>
    <p:sldLayoutId id="2147484365" r:id="rId49"/>
    <p:sldLayoutId id="2147484366" r:id="rId50"/>
    <p:sldLayoutId id="2147484367" r:id="rId51"/>
    <p:sldLayoutId id="2147484378" r:id="rId52"/>
    <p:sldLayoutId id="2147484351" r:id="rId53"/>
    <p:sldLayoutId id="2147484350" r:id="rId54"/>
    <p:sldLayoutId id="2147484352" r:id="rId55"/>
    <p:sldLayoutId id="2147484829" r:id="rId56"/>
    <p:sldLayoutId id="2147484830" r:id="rId57"/>
    <p:sldLayoutId id="2147484831" r:id="rId58"/>
    <p:sldLayoutId id="2147484843" r:id="rId59"/>
    <p:sldLayoutId id="2147483771" r:id="rId60"/>
    <p:sldLayoutId id="2147484832" r:id="rId61"/>
    <p:sldLayoutId id="2147483722" r:id="rId62"/>
    <p:sldLayoutId id="2147484258" r:id="rId63"/>
    <p:sldLayoutId id="2147484257" r:id="rId64"/>
    <p:sldLayoutId id="2147485033" r:id="rId65"/>
    <p:sldLayoutId id="2147484254" r:id="rId66"/>
    <p:sldLayoutId id="2147484247" r:id="rId67"/>
    <p:sldLayoutId id="2147484248" r:id="rId68"/>
    <p:sldLayoutId id="2147484249" r:id="rId69"/>
    <p:sldLayoutId id="2147484250" r:id="rId70"/>
    <p:sldLayoutId id="2147484251" r:id="rId71"/>
    <p:sldLayoutId id="2147484606" r:id="rId72"/>
    <p:sldLayoutId id="2147484845" r:id="rId73"/>
    <p:sldLayoutId id="2147484846" r:id="rId74"/>
    <p:sldLayoutId id="2147484231" r:id="rId75"/>
    <p:sldLayoutId id="2147484268" r:id="rId76"/>
    <p:sldLayoutId id="2147484235" r:id="rId77"/>
    <p:sldLayoutId id="2147484847" r:id="rId78"/>
    <p:sldLayoutId id="2147484245" r:id="rId79"/>
    <p:sldLayoutId id="2147484262" r:id="rId80"/>
    <p:sldLayoutId id="2147483719" r:id="rId81"/>
    <p:sldLayoutId id="2147483720" r:id="rId82"/>
    <p:sldLayoutId id="2147483721" r:id="rId83"/>
    <p:sldLayoutId id="2147484233" r:id="rId84"/>
    <p:sldLayoutId id="2147484821" r:id="rId85"/>
    <p:sldLayoutId id="2147483716" r:id="rId86"/>
    <p:sldLayoutId id="2147483723" r:id="rId87"/>
    <p:sldLayoutId id="2147484848" r:id="rId88"/>
    <p:sldLayoutId id="2147483717" r:id="rId89"/>
    <p:sldLayoutId id="2147483718" r:id="rId90"/>
    <p:sldLayoutId id="2147484400" r:id="rId91"/>
    <p:sldLayoutId id="2147484401" r:id="rId92"/>
    <p:sldLayoutId id="2147484402" r:id="rId93"/>
    <p:sldLayoutId id="2147484822" r:id="rId94"/>
    <p:sldLayoutId id="2147484849" r:id="rId95"/>
    <p:sldLayoutId id="2147484313" r:id="rId96"/>
    <p:sldLayoutId id="2147484315" r:id="rId97"/>
    <p:sldLayoutId id="2147483737" r:id="rId98"/>
    <p:sldLayoutId id="2147483772" r:id="rId99"/>
    <p:sldLayoutId id="2147484850" r:id="rId100"/>
    <p:sldLayoutId id="2147483742" r:id="rId101"/>
    <p:sldLayoutId id="2147483743" r:id="rId102"/>
    <p:sldLayoutId id="2147483744" r:id="rId103"/>
    <p:sldLayoutId id="2147484488" r:id="rId104"/>
    <p:sldLayoutId id="2147483746" r:id="rId105"/>
    <p:sldLayoutId id="2147483747" r:id="rId106"/>
    <p:sldLayoutId id="2147484851" r:id="rId107"/>
    <p:sldLayoutId id="2147483748" r:id="rId108"/>
    <p:sldLayoutId id="2147484335" r:id="rId109"/>
    <p:sldLayoutId id="2147484336" r:id="rId110"/>
    <p:sldLayoutId id="2147484337" r:id="rId111"/>
    <p:sldLayoutId id="2147484852" r:id="rId112"/>
    <p:sldLayoutId id="2147484853" r:id="rId113"/>
    <p:sldLayoutId id="2147484339" r:id="rId114"/>
    <p:sldLayoutId id="2147484340" r:id="rId115"/>
    <p:sldLayoutId id="2147484341" r:id="rId116"/>
    <p:sldLayoutId id="2147484342" r:id="rId117"/>
    <p:sldLayoutId id="2147484343" r:id="rId118"/>
    <p:sldLayoutId id="2147484344" r:id="rId119"/>
    <p:sldLayoutId id="2147484222" r:id="rId120"/>
    <p:sldLayoutId id="2147484854" r:id="rId121"/>
    <p:sldLayoutId id="2147484855" r:id="rId122"/>
    <p:sldLayoutId id="2147484584" r:id="rId123"/>
    <p:sldLayoutId id="2147483868" r:id="rId124"/>
    <p:sldLayoutId id="2147484585" r:id="rId125"/>
    <p:sldLayoutId id="2147484586" r:id="rId126"/>
    <p:sldLayoutId id="2147484587" r:id="rId127"/>
    <p:sldLayoutId id="2147484588" r:id="rId128"/>
    <p:sldLayoutId id="2147484592" r:id="rId129"/>
    <p:sldLayoutId id="2147484593" r:id="rId130"/>
    <p:sldLayoutId id="2147484594" r:id="rId131"/>
    <p:sldLayoutId id="2147484595" r:id="rId132"/>
    <p:sldLayoutId id="2147484813" r:id="rId133"/>
    <p:sldLayoutId id="2147484386" r:id="rId134"/>
    <p:sldLayoutId id="2147484815" r:id="rId135"/>
    <p:sldLayoutId id="2147484816" r:id="rId136"/>
    <p:sldLayoutId id="2147484817" r:id="rId137"/>
    <p:sldLayoutId id="2147484329" r:id="rId138"/>
    <p:sldLayoutId id="2147484330" r:id="rId139"/>
    <p:sldLayoutId id="2147484331" r:id="rId140"/>
    <p:sldLayoutId id="2147484332" r:id="rId141"/>
    <p:sldLayoutId id="2147484485" r:id="rId142"/>
    <p:sldLayoutId id="2147484486" r:id="rId143"/>
    <p:sldLayoutId id="2147484609" r:id="rId144"/>
    <p:sldLayoutId id="2147484477" r:id="rId145"/>
    <p:sldLayoutId id="2147484478" r:id="rId146"/>
    <p:sldLayoutId id="2147484260" r:id="rId147"/>
    <p:sldLayoutId id="2147484856" r:id="rId148"/>
    <p:sldLayoutId id="2147484480" r:id="rId149"/>
    <p:sldLayoutId id="2147484267" r:id="rId150"/>
    <p:sldLayoutId id="2147484481" r:id="rId151"/>
    <p:sldLayoutId id="2147484482" r:id="rId152"/>
    <p:sldLayoutId id="2147484483" r:id="rId153"/>
    <p:sldLayoutId id="2147484484" r:id="rId154"/>
    <p:sldLayoutId id="2147483792" r:id="rId155"/>
    <p:sldLayoutId id="2147483793" r:id="rId156"/>
    <p:sldLayoutId id="2147483794" r:id="rId157"/>
    <p:sldLayoutId id="2147484857" r:id="rId158"/>
    <p:sldLayoutId id="2147483796" r:id="rId159"/>
    <p:sldLayoutId id="2147483797" r:id="rId160"/>
    <p:sldLayoutId id="2147483798" r:id="rId161"/>
    <p:sldLayoutId id="2147483799" r:id="rId162"/>
    <p:sldLayoutId id="2147483800" r:id="rId163"/>
    <p:sldLayoutId id="2147483801" r:id="rId164"/>
    <p:sldLayoutId id="2147484607" r:id="rId165"/>
    <p:sldLayoutId id="2147484608" r:id="rId166"/>
    <p:sldLayoutId id="2147484605" r:id="rId167"/>
    <p:sldLayoutId id="2147484833" r:id="rId168"/>
    <p:sldLayoutId id="2147484834" r:id="rId169"/>
    <p:sldLayoutId id="2147484349" r:id="rId170"/>
    <p:sldLayoutId id="2147483673" r:id="rId171"/>
    <p:sldLayoutId id="2147483674" r:id="rId172"/>
    <p:sldLayoutId id="2147483675" r:id="rId173"/>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AD347D-5ACD-4C99-B74B-A9C85AD731AF}" type="datetimeFigureOut">
              <a:rPr lang="en-US" smtClean="0"/>
              <a:t>4/17/2023</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02111984F565}" type="slidenum">
              <a:rPr lang="en-US" smtClean="0"/>
              <a:t>‹#›</a:t>
            </a:fld>
            <a:endParaRPr lang="en-US" dirty="0"/>
          </a:p>
        </p:txBody>
      </p:sp>
    </p:spTree>
    <p:extLst>
      <p:ext uri="{BB962C8B-B14F-4D97-AF65-F5344CB8AC3E}">
        <p14:creationId xmlns:p14="http://schemas.microsoft.com/office/powerpoint/2010/main" val="911864165"/>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815553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Lst>
  <p:txStyles>
    <p:titleStyle>
      <a:lvl1pPr algn="l" defTabSz="685783" rtl="0" eaLnBrk="1" latinLnBrk="0" hangingPunct="1">
        <a:lnSpc>
          <a:spcPct val="90000"/>
        </a:lnSpc>
        <a:spcBef>
          <a:spcPct val="0"/>
        </a:spcBef>
        <a:buNone/>
        <a:defRPr sz="4000" b="1" kern="1200">
          <a:solidFill>
            <a:schemeClr val="accent1"/>
          </a:solidFill>
          <a:latin typeface="Arial" panose="020B0604020202020204" pitchFamily="34" charset="0"/>
          <a:ea typeface="+mj-ea"/>
          <a:cs typeface="Arial" panose="020B0604020202020204" pitchFamily="34" charset="0"/>
        </a:defRPr>
      </a:lvl1pPr>
    </p:titleStyle>
    <p:bodyStyle>
      <a:lvl1pPr marL="225420" indent="-225420" algn="l" defTabSz="685783" rtl="0" eaLnBrk="1" latinLnBrk="0" hangingPunct="1">
        <a:lnSpc>
          <a:spcPct val="90000"/>
        </a:lnSpc>
        <a:spcBef>
          <a:spcPts val="1051"/>
        </a:spcBef>
        <a:buClr>
          <a:srgbClr val="92D050"/>
        </a:buClr>
        <a:buSzPct val="100000"/>
        <a:buFont typeface="Arial" panose="020B0604020202020204" pitchFamily="34" charset="0"/>
        <a:buChar char="•"/>
        <a:defRPr sz="2800" kern="1200" baseline="0">
          <a:solidFill>
            <a:schemeClr val="tx1"/>
          </a:solidFill>
          <a:latin typeface="Arial" panose="020B0604020202020204" pitchFamily="34" charset="0"/>
          <a:ea typeface="+mn-ea"/>
          <a:cs typeface="Arial" panose="020B0604020202020204" pitchFamily="34" charset="0"/>
        </a:defRPr>
      </a:lvl1pPr>
      <a:lvl2pPr marL="461951" indent="-236533" algn="l" defTabSz="685783" rtl="0" eaLnBrk="1" latinLnBrk="0" hangingPunct="1">
        <a:lnSpc>
          <a:spcPct val="90000"/>
        </a:lnSpc>
        <a:spcBef>
          <a:spcPts val="151"/>
        </a:spcBef>
        <a:spcAft>
          <a:spcPts val="300"/>
        </a:spcAft>
        <a:buClr>
          <a:schemeClr val="tx2"/>
        </a:buClr>
        <a:buSzPct val="80000"/>
        <a:buFont typeface="Wingdings" panose="05000000000000000000" pitchFamily="2" charset="2"/>
        <a:buChar char="Ø"/>
        <a:defRPr sz="2400" kern="1200">
          <a:solidFill>
            <a:schemeClr val="tx1"/>
          </a:solidFill>
          <a:latin typeface="Arial" panose="020B0604020202020204" pitchFamily="34" charset="0"/>
          <a:ea typeface="+mn-ea"/>
          <a:cs typeface="Arial" panose="020B0604020202020204" pitchFamily="34" charset="0"/>
        </a:defRPr>
      </a:lvl2pPr>
      <a:lvl3pPr marL="688957" indent="-233357" algn="l" defTabSz="685783" rtl="0" eaLnBrk="1" latinLnBrk="0" hangingPunct="1">
        <a:lnSpc>
          <a:spcPct val="90000"/>
        </a:lnSpc>
        <a:spcBef>
          <a:spcPts val="151"/>
        </a:spcBef>
        <a:spcAft>
          <a:spcPts val="300"/>
        </a:spcAft>
        <a:buClr>
          <a:srgbClr val="F5BD47"/>
        </a:buClr>
        <a:buSzPct val="80000"/>
        <a:buFont typeface="Trebuchet MS" panose="020B0603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69065" algn="l" defTabSz="685783" rtl="0" eaLnBrk="1" latinLnBrk="0" hangingPunct="1">
        <a:lnSpc>
          <a:spcPct val="90000"/>
        </a:lnSpc>
        <a:spcBef>
          <a:spcPts val="151"/>
        </a:spcBef>
        <a:spcAft>
          <a:spcPts val="300"/>
        </a:spcAft>
        <a:buClr>
          <a:schemeClr val="tx2"/>
        </a:buClr>
        <a:buSzPct val="80000"/>
        <a:buFont typeface="Corbel" pitchFamily="34" charset="0"/>
        <a:buChar char="•"/>
        <a:defRPr sz="1351" kern="1200">
          <a:solidFill>
            <a:schemeClr val="tx1"/>
          </a:solidFill>
          <a:latin typeface="Arial" panose="020B0604020202020204" pitchFamily="34" charset="0"/>
          <a:ea typeface="+mn-ea"/>
          <a:cs typeface="Arial" panose="020B0604020202020204" pitchFamily="34" charset="0"/>
        </a:defRPr>
      </a:lvl4pPr>
      <a:lvl5pPr marL="960096" indent="-137157" algn="l" defTabSz="685783" rtl="0" eaLnBrk="1" latinLnBrk="0" hangingPunct="1">
        <a:lnSpc>
          <a:spcPct val="90000"/>
        </a:lnSpc>
        <a:spcBef>
          <a:spcPts val="151"/>
        </a:spcBef>
        <a:spcAft>
          <a:spcPts val="300"/>
        </a:spcAft>
        <a:buClr>
          <a:schemeClr val="tx2"/>
        </a:buClr>
        <a:buSzPct val="80000"/>
        <a:buFont typeface="Corbel" pitchFamily="34" charset="0"/>
        <a:buChar char="•"/>
        <a:defRPr sz="1200" kern="1200">
          <a:solidFill>
            <a:schemeClr val="tx1"/>
          </a:solidFill>
          <a:latin typeface="+mn-lt"/>
          <a:ea typeface="+mn-ea"/>
          <a:cs typeface="+mn-cs"/>
        </a:defRPr>
      </a:lvl5pPr>
      <a:lvl6pPr marL="1199970"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6pPr>
      <a:lvl7pPr marL="1424964"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7pPr>
      <a:lvl8pPr marL="1649959"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8pPr>
      <a:lvl9pPr marL="1874953"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5"/>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3" y="5956138"/>
            <a:ext cx="2844799" cy="365125"/>
          </a:xfrm>
          <a:prstGeom prst="rect">
            <a:avLst/>
          </a:prstGeom>
        </p:spPr>
        <p:txBody>
          <a:bodyPr vert="horz" lIns="91440" tIns="45720" rIns="91440" bIns="45720" rtlCol="0" anchor="ctr"/>
          <a:lstStyle>
            <a:lvl1pPr algn="r">
              <a:defRPr sz="900">
                <a:solidFill>
                  <a:schemeClr val="accent2"/>
                </a:solidFill>
              </a:defRPr>
            </a:lvl1pPr>
          </a:lstStyle>
          <a:p>
            <a:fld id="{EA08669C-2AEC-4447-8C4F-AF10C406320C}" type="datetimeFigureOut">
              <a:rPr lang="en-US" smtClean="0"/>
              <a:t>4/17/2023</a:t>
            </a:fld>
            <a:endParaRPr lang="en-US"/>
          </a:p>
        </p:txBody>
      </p:sp>
      <p:sp>
        <p:nvSpPr>
          <p:cNvPr id="5" name="Footer Placeholder 4"/>
          <p:cNvSpPr>
            <a:spLocks noGrp="1"/>
          </p:cNvSpPr>
          <p:nvPr>
            <p:ph type="ftr" sz="quarter" idx="3"/>
          </p:nvPr>
        </p:nvSpPr>
        <p:spPr>
          <a:xfrm>
            <a:off x="581192" y="5951812"/>
            <a:ext cx="6917211"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1" y="5956138"/>
            <a:ext cx="1052511" cy="365125"/>
          </a:xfrm>
          <a:prstGeom prst="rect">
            <a:avLst/>
          </a:prstGeom>
        </p:spPr>
        <p:txBody>
          <a:bodyPr vert="horz" lIns="91440" tIns="45720" rIns="91440" bIns="45720" rtlCol="0" anchor="ctr"/>
          <a:lstStyle>
            <a:lvl1pPr algn="r">
              <a:defRPr sz="900">
                <a:solidFill>
                  <a:schemeClr val="accent2"/>
                </a:solidFill>
              </a:defRPr>
            </a:lvl1pPr>
          </a:lstStyle>
          <a:p>
            <a:fld id="{645EE8DD-1D63-4AAB-A704-48D21620184C}" type="slidenum">
              <a:rPr lang="en-US" smtClean="0"/>
              <a:t>‹#›</a:t>
            </a:fld>
            <a:endParaRPr lang="en-US"/>
          </a:p>
        </p:txBody>
      </p:sp>
      <p:sp>
        <p:nvSpPr>
          <p:cNvPr id="9" name="Rectangle 8"/>
          <p:cNvSpPr/>
          <p:nvPr/>
        </p:nvSpPr>
        <p:spPr>
          <a:xfrm>
            <a:off x="446535"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1"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907225548"/>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Lst>
  <p:txStyles>
    <p:titleStyle>
      <a:lvl1pPr algn="l" defTabSz="457189"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5992" indent="-305992"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29984" indent="-305992"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899978" indent="-269993"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1969" indent="-2339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1960" indent="-2339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899953"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199945"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499938"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799930"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10"/>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6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6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3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4"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74" y="5969000"/>
            <a:ext cx="1122633" cy="512064"/>
          </a:xfrm>
          <a:prstGeom prst="rect">
            <a:avLst/>
          </a:prstGeom>
        </p:spPr>
      </p:pic>
    </p:spTree>
    <p:extLst>
      <p:ext uri="{BB962C8B-B14F-4D97-AF65-F5344CB8AC3E}">
        <p14:creationId xmlns:p14="http://schemas.microsoft.com/office/powerpoint/2010/main" val="88538942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Lst>
  <p:hf sldNum="0" hdr="0" ftr="0" dt="0"/>
  <p:txStyles>
    <p:titleStyle>
      <a:lvl1pPr algn="ctr" defTabSz="1219078"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54" indent="-457154" algn="l" defTabSz="1219078"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02" indent="-380964" algn="l" defTabSz="1219078"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847" indent="-304771" algn="l" defTabSz="1219078"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387" indent="-304771" algn="l" defTabSz="1219078"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2926" indent="-304771" algn="l" defTabSz="1219078"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464"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005"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544"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082"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8" algn="l" defTabSz="1219078" rtl="0" eaLnBrk="1" latinLnBrk="0" hangingPunct="1">
        <a:defRPr sz="2400" kern="1200">
          <a:solidFill>
            <a:schemeClr val="tx1"/>
          </a:solidFill>
          <a:latin typeface="+mn-lt"/>
          <a:ea typeface="+mn-ea"/>
          <a:cs typeface="+mn-cs"/>
        </a:defRPr>
      </a:lvl4pPr>
      <a:lvl5pPr marL="2438158" algn="l" defTabSz="1219078" rtl="0" eaLnBrk="1" latinLnBrk="0" hangingPunct="1">
        <a:defRPr sz="2400" kern="1200">
          <a:solidFill>
            <a:schemeClr val="tx1"/>
          </a:solidFill>
          <a:latin typeface="+mn-lt"/>
          <a:ea typeface="+mn-ea"/>
          <a:cs typeface="+mn-cs"/>
        </a:defRPr>
      </a:lvl5pPr>
      <a:lvl6pPr marL="3047696"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3" algn="l" defTabSz="1219078"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CONFIDENTIAL: NYSBEIP EXPERT PANEL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11" name="Picture 10">
            <a:extLst>
              <a:ext uri="{FF2B5EF4-FFF2-40B4-BE49-F238E27FC236}">
                <a16:creationId xmlns:a16="http://schemas.microsoft.com/office/drawing/2014/main" id="{6F032D57-A2E1-45E1-A59E-37FAEBA832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432800" y="6004047"/>
            <a:ext cx="2011408" cy="512064"/>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B44AC7DB-05B3-472F-93EF-44EC73CBD7C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561368" y="6004047"/>
            <a:ext cx="1122633" cy="512064"/>
          </a:xfrm>
          <a:prstGeom prst="rect">
            <a:avLst/>
          </a:prstGeom>
        </p:spPr>
      </p:pic>
    </p:spTree>
    <p:extLst>
      <p:ext uri="{BB962C8B-B14F-4D97-AF65-F5344CB8AC3E}">
        <p14:creationId xmlns:p14="http://schemas.microsoft.com/office/powerpoint/2010/main" val="204563549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7386BDC2-3C97-42B9-9AF0-122889C3C263}" type="datetime1">
              <a:rPr lang="en-US" smtClean="0"/>
              <a:t>4/17/2023</a:t>
            </a:fld>
            <a:endParaRPr lang="en-US"/>
          </a:p>
        </p:txBody>
      </p:sp>
      <p:sp>
        <p:nvSpPr>
          <p:cNvPr id="5" name="Footer Placeholder 4"/>
          <p:cNvSpPr>
            <a:spLocks noGrp="1"/>
          </p:cNvSpPr>
          <p:nvPr>
            <p:ph type="ftr" sz="quarter" idx="3"/>
          </p:nvPr>
        </p:nvSpPr>
        <p:spPr>
          <a:xfrm>
            <a:off x="4165600" y="6356353"/>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3"/>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8"/>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69" y="5969000"/>
            <a:ext cx="1122633" cy="512064"/>
          </a:xfrm>
          <a:prstGeom prst="rect">
            <a:avLst/>
          </a:prstGeom>
        </p:spPr>
      </p:pic>
    </p:spTree>
    <p:extLst>
      <p:ext uri="{BB962C8B-B14F-4D97-AF65-F5344CB8AC3E}">
        <p14:creationId xmlns:p14="http://schemas.microsoft.com/office/powerpoint/2010/main" val="3251692763"/>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Lst>
  <p:hf sldNum="0" hdr="0" ftr="0" dt="0"/>
  <p:txStyles>
    <p:titleStyle>
      <a:lvl1pPr algn="ctr" defTabSz="121914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78" indent="-457178" algn="l" defTabSz="121914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50" indent="-380981" algn="l" defTabSz="121914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25" indent="-304784" algn="l" defTabSz="121914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493" indent="-304784" algn="l" defTabSz="121914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062" indent="-304784" algn="l" defTabSz="121914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4"/>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4"/>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fld id="{83CABE15-44AF-4AC9-972E-389AF041679F}" type="datetime1">
              <a:rPr lang="en-US" smtClean="0"/>
              <a:t>4/17/2023</a:t>
            </a:fld>
            <a:endParaRPr lang="en-US"/>
          </a:p>
        </p:txBody>
      </p:sp>
      <p:sp>
        <p:nvSpPr>
          <p:cNvPr id="5" name="Footer Placeholder 4"/>
          <p:cNvSpPr>
            <a:spLocks noGrp="1"/>
          </p:cNvSpPr>
          <p:nvPr>
            <p:ph type="ftr" sz="quarter" idx="3"/>
          </p:nvPr>
        </p:nvSpPr>
        <p:spPr>
          <a:xfrm>
            <a:off x="4165600" y="6356354"/>
            <a:ext cx="38608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4"/>
            <a:ext cx="2844800" cy="366183"/>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9"/>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lide Number Placeholder 3"/>
          <p:cNvSpPr txBox="1">
            <a:spLocks/>
          </p:cNvSpPr>
          <p:nvPr userDrawn="1"/>
        </p:nvSpPr>
        <p:spPr>
          <a:xfrm>
            <a:off x="11074400" y="117476"/>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a:p>
        </p:txBody>
      </p:sp>
      <p:sp>
        <p:nvSpPr>
          <p:cNvPr id="10" name="Rectangle 9"/>
          <p:cNvSpPr/>
          <p:nvPr userDrawn="1"/>
        </p:nvSpPr>
        <p:spPr>
          <a:xfrm>
            <a:off x="0" y="-25398"/>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70" y="5969000"/>
            <a:ext cx="1122633" cy="512064"/>
          </a:xfrm>
          <a:prstGeom prst="rect">
            <a:avLst/>
          </a:prstGeom>
        </p:spPr>
      </p:pic>
    </p:spTree>
    <p:extLst>
      <p:ext uri="{BB962C8B-B14F-4D97-AF65-F5344CB8AC3E}">
        <p14:creationId xmlns:p14="http://schemas.microsoft.com/office/powerpoint/2010/main" val="2958507916"/>
      </p:ext>
    </p:extLst>
  </p:cSld>
  <p:clrMap bg1="lt1" tx1="dk1" bg2="lt2" tx2="dk2" accent1="accent1" accent2="accent2" accent3="accent3" accent4="accent4" accent5="accent5" accent6="accent6" hlink="hlink" folHlink="folHlink"/>
  <p:sldLayoutIdLst>
    <p:sldLayoutId id="2147483835" r:id="rId1"/>
    <p:sldLayoutId id="2147484814"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p:hf sldNum="0" hdr="0" ftr="0" dt="0"/>
  <p:txStyles>
    <p:titleStyle>
      <a:lvl1pPr algn="ctr" defTabSz="914377"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891" indent="-342891" algn="l" defTabSz="914377"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384117487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ctangle 21"/>
          <p:cNvSpPr/>
          <p:nvPr userDrawn="1"/>
        </p:nvSpPr>
        <p:spPr>
          <a:xfrm>
            <a:off x="0" y="83129"/>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Slide Number Placeholder 3"/>
          <p:cNvSpPr txBox="1">
            <a:spLocks/>
          </p:cNvSpPr>
          <p:nvPr userDrawn="1"/>
        </p:nvSpPr>
        <p:spPr>
          <a:xfrm>
            <a:off x="11074400" y="117476"/>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dirty="0"/>
          </a:p>
        </p:txBody>
      </p:sp>
      <p:sp>
        <p:nvSpPr>
          <p:cNvPr id="25" name="Rectangle 24"/>
          <p:cNvSpPr/>
          <p:nvPr userDrawn="1"/>
        </p:nvSpPr>
        <p:spPr>
          <a:xfrm>
            <a:off x="0" y="-25398"/>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descr="A picture containing drawing&#10;&#10;Description automatically generated">
            <a:extLst>
              <a:ext uri="{FF2B5EF4-FFF2-40B4-BE49-F238E27FC236}">
                <a16:creationId xmlns:a16="http://schemas.microsoft.com/office/drawing/2014/main" id="{654A90A9-728F-4146-A5FA-AFCA7127AB9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1370" y="6004047"/>
            <a:ext cx="1122633" cy="512064"/>
          </a:xfrm>
          <a:prstGeom prst="rect">
            <a:avLst/>
          </a:prstGeom>
        </p:spPr>
      </p:pic>
      <p:pic>
        <p:nvPicPr>
          <p:cNvPr id="9" name="Picture 8">
            <a:extLst>
              <a:ext uri="{FF2B5EF4-FFF2-40B4-BE49-F238E27FC236}">
                <a16:creationId xmlns:a16="http://schemas.microsoft.com/office/drawing/2014/main" id="{2FB242C8-0CCF-42DB-B54C-6A43BA4F670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32800" y="6004047"/>
            <a:ext cx="2011408" cy="512064"/>
          </a:xfrm>
          <a:prstGeom prst="rect">
            <a:avLst/>
          </a:prstGeom>
        </p:spPr>
      </p:pic>
    </p:spTree>
    <p:extLst>
      <p:ext uri="{BB962C8B-B14F-4D97-AF65-F5344CB8AC3E}">
        <p14:creationId xmlns:p14="http://schemas.microsoft.com/office/powerpoint/2010/main" val="26247467"/>
      </p:ext>
    </p:extLst>
  </p:cSld>
  <p:clrMap bg1="lt1" tx1="dk1" bg2="lt2" tx2="dk2" accent1="accent1" accent2="accent2" accent3="accent3" accent4="accent4" accent5="accent5" accent6="accent6" hlink="hlink" folHlink="folHlink"/>
  <p:sldLayoutIdLst>
    <p:sldLayoutId id="2147483831" r:id="rId1"/>
    <p:sldLayoutId id="2147483832" r:id="rId2"/>
  </p:sldLayoutIdLst>
  <p:hf sldNum="0" hdr="0" ftr="0" dt="0"/>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29935575-F01E-4978-86AA-DFBB7878EE96}" type="datetime1">
              <a:rPr lang="en-US" smtClean="0"/>
              <a:t>4/17/2023</a:t>
            </a:fld>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8BACAC6D-BD82-4571-9E34-C1EFF11A946D}" type="slidenum">
              <a:rPr lang="en-US" smtClean="0"/>
              <a:t>‹#›</a:t>
            </a:fld>
            <a:endParaRPr lang="en-US"/>
          </a:p>
        </p:txBody>
      </p:sp>
      <p:sp>
        <p:nvSpPr>
          <p:cNvPr id="7" name="Rectangle 6"/>
          <p:cNvSpPr/>
          <p:nvPr userDrawn="1"/>
        </p:nvSpPr>
        <p:spPr>
          <a:xfrm>
            <a:off x="0" y="4953000"/>
            <a:ext cx="12192000" cy="19812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Rectangle 7"/>
          <p:cNvSpPr/>
          <p:nvPr userDrawn="1"/>
        </p:nvSpPr>
        <p:spPr>
          <a:xfrm>
            <a:off x="0" y="4953000"/>
            <a:ext cx="12192000" cy="101600"/>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Date Placeholder 1"/>
          <p:cNvSpPr txBox="1">
            <a:spLocks/>
          </p:cNvSpPr>
          <p:nvPr userDrawn="1"/>
        </p:nvSpPr>
        <p:spPr>
          <a:xfrm>
            <a:off x="609600" y="5257800"/>
            <a:ext cx="28448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67">
              <a:solidFill>
                <a:schemeClr val="bg1"/>
              </a:solidFill>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200" y="482600"/>
            <a:ext cx="4262269" cy="1085088"/>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8485A8FB-E1AF-4596-AF39-6BC7AEF6EE1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39201" y="482600"/>
            <a:ext cx="2378913" cy="1085088"/>
          </a:xfrm>
          <a:prstGeom prst="rect">
            <a:avLst/>
          </a:prstGeom>
        </p:spPr>
      </p:pic>
    </p:spTree>
    <p:extLst>
      <p:ext uri="{BB962C8B-B14F-4D97-AF65-F5344CB8AC3E}">
        <p14:creationId xmlns:p14="http://schemas.microsoft.com/office/powerpoint/2010/main" val="4023744030"/>
      </p:ext>
    </p:extLst>
  </p:cSld>
  <p:clrMap bg1="lt1" tx1="dk1" bg2="lt2" tx2="dk2" accent1="accent1" accent2="accent2" accent3="accent3" accent4="accent4" accent5="accent5" accent6="accent6" hlink="hlink" folHlink="folHlink"/>
  <p:sldLayoutIdLst>
    <p:sldLayoutId id="2147483686"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7"/>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95823186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4591" r:id="rId4"/>
    <p:sldLayoutId id="2147483671" r:id="rId5"/>
    <p:sldLayoutId id="2147483672" r:id="rId6"/>
    <p:sldLayoutId id="2147484636" r:id="rId7"/>
    <p:sldLayoutId id="2147484610" r:id="rId8"/>
    <p:sldLayoutId id="2147484611" r:id="rId9"/>
    <p:sldLayoutId id="2147484612" r:id="rId10"/>
    <p:sldLayoutId id="2147484613" r:id="rId11"/>
    <p:sldLayoutId id="2147484614" r:id="rId12"/>
    <p:sldLayoutId id="2147484615" r:id="rId13"/>
    <p:sldLayoutId id="2147484616" r:id="rId14"/>
    <p:sldLayoutId id="2147484617" r:id="rId15"/>
    <p:sldLayoutId id="2147484618" r:id="rId16"/>
    <p:sldLayoutId id="2147484619" r:id="rId17"/>
    <p:sldLayoutId id="2147483728" r:id="rId18"/>
    <p:sldLayoutId id="2147484621" r:id="rId19"/>
    <p:sldLayoutId id="2147484637"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463512966"/>
      </p:ext>
    </p:extLst>
  </p:cSld>
  <p:clrMap bg1="lt1" tx1="dk1" bg2="lt2" tx2="dk2" accent1="accent1" accent2="accent2" accent3="accent3" accent4="accent4" accent5="accent5" accent6="accent6" hlink="hlink" folHlink="folHlink"/>
  <p:sldLayoutIdLst>
    <p:sldLayoutId id="2147484639" r:id="rId1"/>
    <p:sldLayoutId id="2147484640" r:id="rId2"/>
    <p:sldLayoutId id="2147484641" r:id="rId3"/>
    <p:sldLayoutId id="2147484642" r:id="rId4"/>
    <p:sldLayoutId id="2147484643" r:id="rId5"/>
    <p:sldLayoutId id="2147484644" r:id="rId6"/>
    <p:sldLayoutId id="2147484645" r:id="rId7"/>
    <p:sldLayoutId id="2147484646" r:id="rId8"/>
    <p:sldLayoutId id="2147484647" r:id="rId9"/>
    <p:sldLayoutId id="2147484648" r:id="rId10"/>
    <p:sldLayoutId id="2147484649" r:id="rId11"/>
    <p:sldLayoutId id="2147484650" r:id="rId12"/>
    <p:sldLayoutId id="2147484651" r:id="rId13"/>
    <p:sldLayoutId id="2147484652" r:id="rId14"/>
    <p:sldLayoutId id="2147484653" r:id="rId15"/>
    <p:sldLayoutId id="2147484654" r:id="rId16"/>
    <p:sldLayoutId id="2147484655" r:id="rId17"/>
    <p:sldLayoutId id="2147484656" r:id="rId18"/>
    <p:sldLayoutId id="2147484657" r:id="rId19"/>
    <p:sldLayoutId id="2147484658" r:id="rId20"/>
    <p:sldLayoutId id="2147484659" r:id="rId21"/>
    <p:sldLayoutId id="2147484660" r:id="rId22"/>
    <p:sldLayoutId id="2147484661" r:id="rId23"/>
    <p:sldLayoutId id="2147484662" r:id="rId24"/>
    <p:sldLayoutId id="2147484663" r:id="rId25"/>
    <p:sldLayoutId id="2147484664" r:id="rId26"/>
    <p:sldLayoutId id="2147484665" r:id="rId27"/>
    <p:sldLayoutId id="2147484666" r:id="rId28"/>
    <p:sldLayoutId id="2147484667" r:id="rId29"/>
    <p:sldLayoutId id="2147484668" r:id="rId30"/>
    <p:sldLayoutId id="2147484669" r:id="rId31"/>
    <p:sldLayoutId id="2147484670" r:id="rId32"/>
    <p:sldLayoutId id="2147484671" r:id="rId33"/>
    <p:sldLayoutId id="2147484672" r:id="rId34"/>
    <p:sldLayoutId id="2147484673" r:id="rId35"/>
    <p:sldLayoutId id="2147484674" r:id="rId36"/>
    <p:sldLayoutId id="2147484675" r:id="rId37"/>
    <p:sldLayoutId id="2147484676" r:id="rId38"/>
    <p:sldLayoutId id="2147484677" r:id="rId39"/>
    <p:sldLayoutId id="2147484678" r:id="rId40"/>
    <p:sldLayoutId id="2147484679" r:id="rId41"/>
    <p:sldLayoutId id="2147484680" r:id="rId42"/>
    <p:sldLayoutId id="2147484684" r:id="rId43"/>
    <p:sldLayoutId id="2147484692" r:id="rId44"/>
    <p:sldLayoutId id="2147484693" r:id="rId45"/>
    <p:sldLayoutId id="2147484694" r:id="rId46"/>
    <p:sldLayoutId id="2147484695" r:id="rId47"/>
    <p:sldLayoutId id="2147484696" r:id="rId48"/>
    <p:sldLayoutId id="2147484697" r:id="rId49"/>
    <p:sldLayoutId id="2147484698" r:id="rId50"/>
    <p:sldLayoutId id="2147484699" r:id="rId51"/>
    <p:sldLayoutId id="2147484700" r:id="rId52"/>
    <p:sldLayoutId id="2147484701" r:id="rId53"/>
    <p:sldLayoutId id="2147484702" r:id="rId54"/>
    <p:sldLayoutId id="2147484703" r:id="rId55"/>
    <p:sldLayoutId id="2147484704" r:id="rId56"/>
    <p:sldLayoutId id="2147484705" r:id="rId57"/>
    <p:sldLayoutId id="2147484706" r:id="rId58"/>
    <p:sldLayoutId id="2147484707" r:id="rId59"/>
    <p:sldLayoutId id="2147484708" r:id="rId60"/>
    <p:sldLayoutId id="2147484709" r:id="rId61"/>
    <p:sldLayoutId id="2147484710" r:id="rId62"/>
    <p:sldLayoutId id="2147484711" r:id="rId63"/>
    <p:sldLayoutId id="2147484712" r:id="rId64"/>
    <p:sldLayoutId id="2147484713" r:id="rId65"/>
    <p:sldLayoutId id="2147484714" r:id="rId66"/>
    <p:sldLayoutId id="2147484715" r:id="rId67"/>
    <p:sldLayoutId id="2147484716" r:id="rId68"/>
    <p:sldLayoutId id="2147484717" r:id="rId69"/>
    <p:sldLayoutId id="2147484718" r:id="rId70"/>
    <p:sldLayoutId id="2147484719" r:id="rId71"/>
    <p:sldLayoutId id="2147484720" r:id="rId72"/>
    <p:sldLayoutId id="2147484721" r:id="rId73"/>
    <p:sldLayoutId id="2147484722" r:id="rId74"/>
    <p:sldLayoutId id="2147484723" r:id="rId75"/>
    <p:sldLayoutId id="2147484724" r:id="rId76"/>
    <p:sldLayoutId id="2147484725" r:id="rId77"/>
    <p:sldLayoutId id="2147484726" r:id="rId78"/>
    <p:sldLayoutId id="2147484727" r:id="rId79"/>
    <p:sldLayoutId id="2147484728" r:id="rId80"/>
    <p:sldLayoutId id="2147484729" r:id="rId81"/>
    <p:sldLayoutId id="2147484730" r:id="rId82"/>
    <p:sldLayoutId id="2147484731" r:id="rId83"/>
    <p:sldLayoutId id="2147484732" r:id="rId84"/>
    <p:sldLayoutId id="2147484733" r:id="rId85"/>
    <p:sldLayoutId id="2147484734" r:id="rId86"/>
    <p:sldLayoutId id="2147484735" r:id="rId87"/>
    <p:sldLayoutId id="2147484736" r:id="rId88"/>
    <p:sldLayoutId id="2147484737" r:id="rId89"/>
    <p:sldLayoutId id="2147484738" r:id="rId90"/>
    <p:sldLayoutId id="2147484739" r:id="rId91"/>
    <p:sldLayoutId id="2147484740" r:id="rId92"/>
    <p:sldLayoutId id="2147484741" r:id="rId93"/>
    <p:sldLayoutId id="2147484742" r:id="rId94"/>
    <p:sldLayoutId id="2147484743" r:id="rId95"/>
    <p:sldLayoutId id="2147484744" r:id="rId96"/>
    <p:sldLayoutId id="2147484745" r:id="rId97"/>
    <p:sldLayoutId id="2147484746" r:id="rId98"/>
    <p:sldLayoutId id="2147484747" r:id="rId99"/>
    <p:sldLayoutId id="2147484748" r:id="rId100"/>
    <p:sldLayoutId id="2147484749" r:id="rId101"/>
    <p:sldLayoutId id="2147484750" r:id="rId102"/>
    <p:sldLayoutId id="2147484751" r:id="rId103"/>
    <p:sldLayoutId id="2147484752" r:id="rId104"/>
    <p:sldLayoutId id="2147484753" r:id="rId105"/>
    <p:sldLayoutId id="2147484754" r:id="rId106"/>
    <p:sldLayoutId id="2147484755" r:id="rId107"/>
    <p:sldLayoutId id="2147484756" r:id="rId108"/>
    <p:sldLayoutId id="2147484757" r:id="rId109"/>
    <p:sldLayoutId id="2147484758" r:id="rId110"/>
    <p:sldLayoutId id="2147484759" r:id="rId111"/>
    <p:sldLayoutId id="2147484760" r:id="rId112"/>
    <p:sldLayoutId id="2147484761" r:id="rId113"/>
    <p:sldLayoutId id="2147484762" r:id="rId114"/>
    <p:sldLayoutId id="2147484763" r:id="rId115"/>
    <p:sldLayoutId id="2147484764" r:id="rId116"/>
    <p:sldLayoutId id="2147484765" r:id="rId117"/>
    <p:sldLayoutId id="2147484766" r:id="rId118"/>
    <p:sldLayoutId id="2147484767" r:id="rId119"/>
    <p:sldLayoutId id="2147484768" r:id="rId120"/>
    <p:sldLayoutId id="2147484769" r:id="rId121"/>
    <p:sldLayoutId id="2147484770" r:id="rId122"/>
    <p:sldLayoutId id="2147484771" r:id="rId123"/>
    <p:sldLayoutId id="2147484772" r:id="rId124"/>
    <p:sldLayoutId id="2147484773" r:id="rId125"/>
    <p:sldLayoutId id="2147484774" r:id="rId126"/>
    <p:sldLayoutId id="2147484775" r:id="rId127"/>
    <p:sldLayoutId id="2147484776" r:id="rId128"/>
    <p:sldLayoutId id="2147484777" r:id="rId129"/>
    <p:sldLayoutId id="2147484778" r:id="rId130"/>
    <p:sldLayoutId id="2147484779" r:id="rId131"/>
    <p:sldLayoutId id="2147484780" r:id="rId132"/>
    <p:sldLayoutId id="2147484781" r:id="rId133"/>
    <p:sldLayoutId id="2147484782" r:id="rId134"/>
    <p:sldLayoutId id="2147484783" r:id="rId135"/>
    <p:sldLayoutId id="2147484784" r:id="rId136"/>
    <p:sldLayoutId id="2147484785" r:id="rId137"/>
    <p:sldLayoutId id="2147484786" r:id="rId138"/>
    <p:sldLayoutId id="2147484787" r:id="rId139"/>
    <p:sldLayoutId id="2147484788" r:id="rId140"/>
    <p:sldLayoutId id="2147484789" r:id="rId141"/>
    <p:sldLayoutId id="2147484790" r:id="rId142"/>
    <p:sldLayoutId id="2147484791" r:id="rId143"/>
    <p:sldLayoutId id="2147484792" r:id="rId144"/>
    <p:sldLayoutId id="2147484793" r:id="rId145"/>
    <p:sldLayoutId id="2147484794" r:id="rId146"/>
    <p:sldLayoutId id="2147484795" r:id="rId147"/>
    <p:sldLayoutId id="2147484796" r:id="rId148"/>
    <p:sldLayoutId id="2147484797" r:id="rId149"/>
    <p:sldLayoutId id="2147484798" r:id="rId150"/>
    <p:sldLayoutId id="2147484799" r:id="rId151"/>
    <p:sldLayoutId id="2147484800" r:id="rId152"/>
    <p:sldLayoutId id="2147484801" r:id="rId153"/>
    <p:sldLayoutId id="2147484802" r:id="rId154"/>
    <p:sldLayoutId id="2147484803" r:id="rId155"/>
    <p:sldLayoutId id="2147484804" r:id="rId156"/>
    <p:sldLayoutId id="2147484805" r:id="rId157"/>
    <p:sldLayoutId id="2147484806" r:id="rId158"/>
    <p:sldLayoutId id="2147484807" r:id="rId159"/>
    <p:sldLayoutId id="2147484808" r:id="rId160"/>
    <p:sldLayoutId id="2147484809" r:id="rId161"/>
    <p:sldLayoutId id="2147484810" r:id="rId16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accent6">
            <a:lumMod val="20000"/>
            <a:lumOff val="8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4A891-92BD-8240-B8C1-F6C8AB9E427B}"/>
              </a:ext>
            </a:extLst>
          </p:cNvPr>
          <p:cNvSpPr>
            <a:spLocks noGrp="1"/>
          </p:cNvSpPr>
          <p:nvPr>
            <p:ph type="title"/>
          </p:nvPr>
        </p:nvSpPr>
        <p:spPr>
          <a:xfrm>
            <a:off x="1517060" y="456085"/>
            <a:ext cx="9356368" cy="390523"/>
          </a:xfrm>
          <a:prstGeom prst="rect">
            <a:avLst/>
          </a:prstGeom>
        </p:spPr>
        <p:txBody>
          <a:bodyPr vert="horz" lIns="0" tIns="45720" rIns="0" bIns="45720" rtlCol="0" anchor="t" anchorCtr="0">
            <a:noAutofit/>
          </a:bodyPr>
          <a:lstStyle/>
          <a:p>
            <a:endParaRPr lang="en-US" dirty="0"/>
          </a:p>
        </p:txBody>
      </p:sp>
      <p:sp>
        <p:nvSpPr>
          <p:cNvPr id="3" name="Text Placeholder 2">
            <a:extLst>
              <a:ext uri="{FF2B5EF4-FFF2-40B4-BE49-F238E27FC236}">
                <a16:creationId xmlns:a16="http://schemas.microsoft.com/office/drawing/2014/main" id="{F1545E5F-B0CD-8940-8C99-2737B49D59C3}"/>
              </a:ext>
            </a:extLst>
          </p:cNvPr>
          <p:cNvSpPr>
            <a:spLocks noGrp="1"/>
          </p:cNvSpPr>
          <p:nvPr>
            <p:ph type="body" idx="1"/>
          </p:nvPr>
        </p:nvSpPr>
        <p:spPr>
          <a:xfrm>
            <a:off x="1535553" y="1379105"/>
            <a:ext cx="9337875" cy="4866717"/>
          </a:xfrm>
          <a:prstGeom prst="rect">
            <a:avLst/>
          </a:prstGeom>
        </p:spPr>
        <p:txBody>
          <a:bodyPr vert="horz" lIns="0" tIns="0" rIns="91440" bIns="0" rtlCol="0">
            <a:normAutofit/>
          </a:bodyPr>
          <a:lstStyle/>
          <a:p>
            <a:pPr lvl="0"/>
            <a:r>
              <a:rPr lang="en-US" dirty="0"/>
              <a:t>Click to edit master text and other stuff that goes here </a:t>
            </a:r>
          </a:p>
          <a:p>
            <a:pPr lvl="1"/>
            <a:r>
              <a:rPr lang="en-US" dirty="0"/>
              <a:t>Second level and some more stuff that goes on until we reach a second line</a:t>
            </a:r>
          </a:p>
          <a:p>
            <a:pPr lvl="2"/>
            <a:r>
              <a:rPr lang="en-US" dirty="0"/>
              <a:t>Third level and some more stuff that goes on until we reach a second line</a:t>
            </a:r>
          </a:p>
          <a:p>
            <a:pPr lvl="3"/>
            <a:r>
              <a:rPr lang="en-US" dirty="0"/>
              <a:t>Fourth level</a:t>
            </a:r>
          </a:p>
          <a:p>
            <a:pPr lvl="4"/>
            <a:endParaRPr lang="en-US" dirty="0"/>
          </a:p>
        </p:txBody>
      </p:sp>
      <p:sp>
        <p:nvSpPr>
          <p:cNvPr id="5" name="Footer Placeholder 4">
            <a:extLst>
              <a:ext uri="{FF2B5EF4-FFF2-40B4-BE49-F238E27FC236}">
                <a16:creationId xmlns:a16="http://schemas.microsoft.com/office/drawing/2014/main" id="{7C794D1C-9BB7-6947-B0BC-FCC1B9E9A669}"/>
              </a:ext>
            </a:extLst>
          </p:cNvPr>
          <p:cNvSpPr>
            <a:spLocks noGrp="1"/>
          </p:cNvSpPr>
          <p:nvPr>
            <p:ph type="ftr" sz="quarter" idx="3"/>
          </p:nvPr>
        </p:nvSpPr>
        <p:spPr>
          <a:xfrm>
            <a:off x="3517439" y="6356368"/>
            <a:ext cx="5392388" cy="365125"/>
          </a:xfrm>
          <a:prstGeom prst="rect">
            <a:avLst/>
          </a:prstGeom>
        </p:spPr>
        <p:txBody>
          <a:bodyPr vert="horz" lIns="91440" tIns="45720" rIns="91440" bIns="45720" rtlCol="0" anchor="ctr"/>
          <a:lstStyle>
            <a:lvl1pPr algn="l">
              <a:defRPr sz="1100" b="0" i="0">
                <a:solidFill>
                  <a:schemeClr val="tx1">
                    <a:tint val="75000"/>
                  </a:schemeClr>
                </a:solidFill>
                <a:latin typeface="Metropolis" pitchFamily="2" charset="77"/>
              </a:defRPr>
            </a:lvl1pPr>
          </a:lstStyle>
          <a:p>
            <a:endParaRPr lang="en-US" dirty="0"/>
          </a:p>
        </p:txBody>
      </p:sp>
      <p:sp>
        <p:nvSpPr>
          <p:cNvPr id="6" name="Slide Number Placeholder 5">
            <a:extLst>
              <a:ext uri="{FF2B5EF4-FFF2-40B4-BE49-F238E27FC236}">
                <a16:creationId xmlns:a16="http://schemas.microsoft.com/office/drawing/2014/main" id="{13475685-D08C-EF45-9ED7-3B8353EB6AB4}"/>
              </a:ext>
            </a:extLst>
          </p:cNvPr>
          <p:cNvSpPr>
            <a:spLocks noGrp="1"/>
          </p:cNvSpPr>
          <p:nvPr>
            <p:ph type="sldNum" sz="quarter" idx="4"/>
          </p:nvPr>
        </p:nvSpPr>
        <p:spPr>
          <a:xfrm>
            <a:off x="9172863" y="6356368"/>
            <a:ext cx="2743200" cy="365125"/>
          </a:xfrm>
          <a:prstGeom prst="rect">
            <a:avLst/>
          </a:prstGeom>
        </p:spPr>
        <p:txBody>
          <a:bodyPr vert="horz" lIns="91440" tIns="45720" rIns="91440" bIns="45720" rtlCol="0" anchor="ctr"/>
          <a:lstStyle>
            <a:lvl1pPr algn="r">
              <a:defRPr sz="1100" b="0" i="0">
                <a:solidFill>
                  <a:schemeClr val="accent5"/>
                </a:solidFill>
                <a:latin typeface="Metropolis" pitchFamily="2" charset="77"/>
              </a:defRPr>
            </a:lvl1pPr>
          </a:lstStyle>
          <a:p>
            <a:fld id="{96ACBB43-5C7B-084B-877B-5EF90931306D}" type="slidenum">
              <a:rPr lang="en-US" smtClean="0"/>
              <a:pPr/>
              <a:t>‹#›</a:t>
            </a:fld>
            <a:endParaRPr lang="en-US" dirty="0"/>
          </a:p>
        </p:txBody>
      </p:sp>
    </p:spTree>
    <p:extLst>
      <p:ext uri="{BB962C8B-B14F-4D97-AF65-F5344CB8AC3E}">
        <p14:creationId xmlns:p14="http://schemas.microsoft.com/office/powerpoint/2010/main" val="110573191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27" r:id="rId8"/>
  </p:sldLayoutIdLst>
  <p:hf hdr="0" ftr="0" dt="0"/>
  <p:txStyles>
    <p:titleStyle>
      <a:lvl1pPr algn="l" defTabSz="914400" rtl="0" eaLnBrk="1" latinLnBrk="0" hangingPunct="1">
        <a:lnSpc>
          <a:spcPct val="90000"/>
        </a:lnSpc>
        <a:spcBef>
          <a:spcPct val="0"/>
        </a:spcBef>
        <a:buNone/>
        <a:defRPr sz="2000" b="1" i="0" kern="1200" spc="200" baseline="0">
          <a:solidFill>
            <a:schemeClr val="bg1">
              <a:lumMod val="65000"/>
            </a:schemeClr>
          </a:solidFill>
          <a:latin typeface="+mn-lt"/>
          <a:ea typeface="+mj-ea"/>
          <a:cs typeface="+mj-cs"/>
        </a:defRPr>
      </a:lvl1pPr>
    </p:titleStyle>
    <p:bodyStyle>
      <a:lvl1pPr marL="571500" indent="-571500" algn="l" defTabSz="914400" rtl="0" eaLnBrk="1" fontAlgn="ctr" latinLnBrk="0" hangingPunct="1">
        <a:lnSpc>
          <a:spcPct val="112000"/>
        </a:lnSpc>
        <a:spcBef>
          <a:spcPts val="0"/>
        </a:spcBef>
        <a:spcAft>
          <a:spcPts val="600"/>
        </a:spcAft>
        <a:buClr>
          <a:schemeClr val="accent1"/>
        </a:buClr>
        <a:buSzPct val="120000"/>
        <a:buFont typeface="System Font Regular"/>
        <a:buChar char="○"/>
        <a:defRPr sz="2800" b="1" i="0" kern="1200">
          <a:solidFill>
            <a:schemeClr val="tx1">
              <a:lumMod val="90000"/>
              <a:lumOff val="10000"/>
            </a:schemeClr>
          </a:solidFill>
          <a:latin typeface="Metropolis Light" pitchFamily="2" charset="77"/>
          <a:ea typeface="+mn-ea"/>
          <a:cs typeface="+mn-cs"/>
        </a:defRPr>
      </a:lvl1pPr>
      <a:lvl2pPr marL="974725" indent="-406400" algn="l" defTabSz="914400" rtl="0" eaLnBrk="1" latinLnBrk="0" hangingPunct="1">
        <a:lnSpc>
          <a:spcPct val="112000"/>
        </a:lnSpc>
        <a:spcBef>
          <a:spcPts val="500"/>
        </a:spcBef>
        <a:buClr>
          <a:schemeClr val="accent1"/>
        </a:buClr>
        <a:buSzPct val="120000"/>
        <a:buFont typeface="Arial" panose="020B0604020202020204" pitchFamily="34" charset="0"/>
        <a:buChar char="•"/>
        <a:defRPr sz="2700" b="0" i="0" kern="1200">
          <a:solidFill>
            <a:schemeClr val="tx1">
              <a:lumMod val="90000"/>
              <a:lumOff val="10000"/>
            </a:schemeClr>
          </a:solidFill>
          <a:latin typeface="Metropolis Light" pitchFamily="2" charset="77"/>
          <a:ea typeface="+mn-ea"/>
          <a:cs typeface="+mn-cs"/>
        </a:defRPr>
      </a:lvl2pPr>
      <a:lvl3pPr marL="1371600" indent="-365125" algn="l" defTabSz="914400" rtl="0" eaLnBrk="1" latinLnBrk="0" hangingPunct="1">
        <a:lnSpc>
          <a:spcPct val="112000"/>
        </a:lnSpc>
        <a:spcBef>
          <a:spcPts val="500"/>
        </a:spcBef>
        <a:buClr>
          <a:schemeClr val="accent1"/>
        </a:buClr>
        <a:buSzPct val="120000"/>
        <a:buFont typeface="Arial" panose="020B0604020202020204" pitchFamily="34" charset="0"/>
        <a:buChar char="•"/>
        <a:defRPr sz="2200" b="0" i="0" kern="1200">
          <a:solidFill>
            <a:schemeClr val="tx1">
              <a:lumMod val="90000"/>
              <a:lumOff val="10000"/>
            </a:schemeClr>
          </a:solidFill>
          <a:latin typeface="Metropolis Light" pitchFamily="2" charset="77"/>
          <a:ea typeface="+mn-ea"/>
          <a:cs typeface="+mn-cs"/>
        </a:defRPr>
      </a:lvl3pPr>
      <a:lvl4pPr marL="1768475" indent="-342900" algn="l" defTabSz="914400" rtl="0" eaLnBrk="1" latinLnBrk="0" hangingPunct="1">
        <a:lnSpc>
          <a:spcPct val="112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4pPr>
      <a:lvl5pPr marL="964692" indent="0" algn="l" defTabSz="914400" rtl="0" eaLnBrk="1" latinLnBrk="0" hangingPunct="1">
        <a:lnSpc>
          <a:spcPct val="112000"/>
        </a:lnSpc>
        <a:spcBef>
          <a:spcPts val="500"/>
        </a:spcBef>
        <a:buClr>
          <a:schemeClr val="accent1"/>
        </a:buClr>
        <a:buSzPct val="120000"/>
        <a:buFont typeface="Arial" panose="020B0604020202020204" pitchFamily="34" charset="0"/>
        <a:buNone/>
        <a:defRPr sz="1800" b="0" i="0" kern="1200">
          <a:solidFill>
            <a:schemeClr val="tx1">
              <a:lumMod val="90000"/>
              <a:lumOff val="10000"/>
            </a:schemeClr>
          </a:solidFill>
          <a:latin typeface="Metropolis Light" pitchFamily="2" charset="77"/>
          <a:ea typeface="+mn-ea"/>
          <a:cs typeface="+mn-cs"/>
        </a:defRPr>
      </a:lvl5pPr>
      <a:lvl6pPr marL="1440180" indent="-292608" algn="l" defTabSz="914400" rtl="0" eaLnBrk="1" latinLnBrk="0" hangingPunct="1">
        <a:lnSpc>
          <a:spcPct val="90000"/>
        </a:lnSpc>
        <a:spcBef>
          <a:spcPts val="6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6pPr>
      <a:lvl7pPr marL="162306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7pPr>
      <a:lvl8pPr marL="189738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8pPr>
      <a:lvl9pPr marL="2171700" indent="-292608" algn="l" defTabSz="914400" rtl="0" eaLnBrk="1" latinLnBrk="0" hangingPunct="1">
        <a:lnSpc>
          <a:spcPct val="90000"/>
        </a:lnSpc>
        <a:spcBef>
          <a:spcPts val="500"/>
        </a:spcBef>
        <a:buClr>
          <a:schemeClr val="accent1"/>
        </a:buClr>
        <a:buSzPct val="120000"/>
        <a:buFont typeface="Arial" panose="020B0604020202020204" pitchFamily="34" charset="0"/>
        <a:buChar char="•"/>
        <a:defRPr sz="1800" b="0" i="0" kern="1200">
          <a:solidFill>
            <a:schemeClr val="tx1">
              <a:lumMod val="90000"/>
              <a:lumOff val="10000"/>
            </a:schemeClr>
          </a:solidFill>
          <a:latin typeface="Metropolis Light" pitchFamily="2" charset="77"/>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0199D4A-F6A9-EC46-A2DF-BB7FBC55CD1D}" type="datetimeFigureOut">
              <a:rPr lang="en-US" smtClean="0"/>
              <a:t>4/17/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0485A7-D857-9442-BA4B-B3E6D7DD0F39}" type="slidenum">
              <a:rPr lang="en-US" smtClean="0"/>
              <a:t>‹#›</a:t>
            </a:fld>
            <a:endParaRPr lang="en-US"/>
          </a:p>
        </p:txBody>
      </p:sp>
    </p:spTree>
    <p:extLst>
      <p:ext uri="{BB962C8B-B14F-4D97-AF65-F5344CB8AC3E}">
        <p14:creationId xmlns:p14="http://schemas.microsoft.com/office/powerpoint/2010/main" val="1692465955"/>
      </p:ext>
    </p:extLst>
  </p:cSld>
  <p:clrMap bg1="lt1" tx1="dk1" bg2="lt2" tx2="dk2" accent1="accent1" accent2="accent2" accent3="accent3" accent4="accent4" accent5="accent5" accent6="accent6" hlink="hlink" folHlink="folHlink"/>
  <p:sldLayoutIdLst>
    <p:sldLayoutId id="2147483785"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 id="2147483770" r:id="rId13"/>
    <p:sldLayoutId id="2147483773" r:id="rId14"/>
    <p:sldLayoutId id="2147483774" r:id="rId15"/>
    <p:sldLayoutId id="2147483777" r:id="rId16"/>
    <p:sldLayoutId id="2147483778" r:id="rId17"/>
    <p:sldLayoutId id="2147483781" r:id="rId18"/>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782151988"/>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8" r:id="rId12"/>
    <p:sldLayoutId id="2147484879" r:id="rId13"/>
    <p:sldLayoutId id="2147484880" r:id="rId14"/>
    <p:sldLayoutId id="2147484881" r:id="rId15"/>
    <p:sldLayoutId id="2147484882" r:id="rId16"/>
    <p:sldLayoutId id="2147484883" r:id="rId17"/>
    <p:sldLayoutId id="2147484884" r:id="rId18"/>
    <p:sldLayoutId id="2147484885" r:id="rId19"/>
    <p:sldLayoutId id="2147484886" r:id="rId20"/>
    <p:sldLayoutId id="2147484887" r:id="rId21"/>
    <p:sldLayoutId id="2147484888" r:id="rId22"/>
    <p:sldLayoutId id="2147484889" r:id="rId23"/>
    <p:sldLayoutId id="2147484890" r:id="rId24"/>
    <p:sldLayoutId id="2147484891" r:id="rId25"/>
    <p:sldLayoutId id="2147484892" r:id="rId26"/>
    <p:sldLayoutId id="2147484893" r:id="rId27"/>
    <p:sldLayoutId id="2147484894" r:id="rId28"/>
    <p:sldLayoutId id="2147484895" r:id="rId29"/>
    <p:sldLayoutId id="2147484896" r:id="rId30"/>
    <p:sldLayoutId id="2147484897" r:id="rId31"/>
    <p:sldLayoutId id="2147484898" r:id="rId32"/>
    <p:sldLayoutId id="2147484899" r:id="rId33"/>
    <p:sldLayoutId id="2147484900" r:id="rId34"/>
    <p:sldLayoutId id="2147484901" r:id="rId35"/>
    <p:sldLayoutId id="2147484902" r:id="rId36"/>
    <p:sldLayoutId id="2147484903" r:id="rId37"/>
    <p:sldLayoutId id="2147484904" r:id="rId38"/>
    <p:sldLayoutId id="2147484905" r:id="rId39"/>
    <p:sldLayoutId id="2147484906" r:id="rId40"/>
    <p:sldLayoutId id="2147484907" r:id="rId41"/>
    <p:sldLayoutId id="2147484908" r:id="rId42"/>
    <p:sldLayoutId id="2147484909" r:id="rId43"/>
    <p:sldLayoutId id="2147484910" r:id="rId44"/>
    <p:sldLayoutId id="2147484911" r:id="rId45"/>
    <p:sldLayoutId id="2147484912" r:id="rId46"/>
    <p:sldLayoutId id="2147484913" r:id="rId47"/>
    <p:sldLayoutId id="2147484914" r:id="rId48"/>
    <p:sldLayoutId id="2147484915" r:id="rId49"/>
    <p:sldLayoutId id="2147484916" r:id="rId50"/>
    <p:sldLayoutId id="2147484917" r:id="rId51"/>
    <p:sldLayoutId id="2147484918" r:id="rId52"/>
    <p:sldLayoutId id="2147484919" r:id="rId53"/>
    <p:sldLayoutId id="2147484920" r:id="rId54"/>
    <p:sldLayoutId id="2147484921" r:id="rId55"/>
    <p:sldLayoutId id="2147484922" r:id="rId56"/>
    <p:sldLayoutId id="2147484923" r:id="rId57"/>
    <p:sldLayoutId id="2147484924" r:id="rId58"/>
    <p:sldLayoutId id="2147484925" r:id="rId59"/>
    <p:sldLayoutId id="2147484926" r:id="rId60"/>
    <p:sldLayoutId id="2147484927" r:id="rId61"/>
    <p:sldLayoutId id="2147484928" r:id="rId62"/>
    <p:sldLayoutId id="2147484929" r:id="rId63"/>
    <p:sldLayoutId id="2147484930" r:id="rId64"/>
    <p:sldLayoutId id="2147484931" r:id="rId65"/>
    <p:sldLayoutId id="2147484932" r:id="rId66"/>
    <p:sldLayoutId id="2147484933" r:id="rId67"/>
    <p:sldLayoutId id="2147484934" r:id="rId68"/>
    <p:sldLayoutId id="2147484935" r:id="rId69"/>
    <p:sldLayoutId id="2147484936" r:id="rId70"/>
    <p:sldLayoutId id="2147484937" r:id="rId71"/>
    <p:sldLayoutId id="2147484938" r:id="rId72"/>
    <p:sldLayoutId id="2147484939" r:id="rId73"/>
    <p:sldLayoutId id="2147484940" r:id="rId74"/>
    <p:sldLayoutId id="2147484941" r:id="rId75"/>
    <p:sldLayoutId id="2147484942" r:id="rId76"/>
    <p:sldLayoutId id="2147484943" r:id="rId77"/>
    <p:sldLayoutId id="2147484944" r:id="rId78"/>
    <p:sldLayoutId id="2147484945" r:id="rId79"/>
    <p:sldLayoutId id="2147484946" r:id="rId80"/>
    <p:sldLayoutId id="2147484947" r:id="rId81"/>
    <p:sldLayoutId id="2147484948" r:id="rId82"/>
    <p:sldLayoutId id="2147484949" r:id="rId83"/>
    <p:sldLayoutId id="2147484950" r:id="rId84"/>
    <p:sldLayoutId id="2147484951" r:id="rId85"/>
    <p:sldLayoutId id="2147484952" r:id="rId86"/>
    <p:sldLayoutId id="2147484953" r:id="rId87"/>
    <p:sldLayoutId id="2147484954" r:id="rId88"/>
    <p:sldLayoutId id="2147484955" r:id="rId89"/>
    <p:sldLayoutId id="2147484956" r:id="rId90"/>
    <p:sldLayoutId id="2147484957" r:id="rId91"/>
    <p:sldLayoutId id="2147484958" r:id="rId92"/>
    <p:sldLayoutId id="2147484959" r:id="rId93"/>
    <p:sldLayoutId id="2147484960" r:id="rId94"/>
    <p:sldLayoutId id="2147484961" r:id="rId95"/>
    <p:sldLayoutId id="2147484962" r:id="rId96"/>
    <p:sldLayoutId id="2147484963" r:id="rId97"/>
    <p:sldLayoutId id="2147484964" r:id="rId98"/>
    <p:sldLayoutId id="2147484965" r:id="rId99"/>
    <p:sldLayoutId id="2147484966" r:id="rId100"/>
    <p:sldLayoutId id="2147484967" r:id="rId101"/>
    <p:sldLayoutId id="2147484968" r:id="rId102"/>
    <p:sldLayoutId id="2147484969" r:id="rId103"/>
    <p:sldLayoutId id="2147484970" r:id="rId104"/>
    <p:sldLayoutId id="2147484971" r:id="rId105"/>
    <p:sldLayoutId id="2147484972" r:id="rId106"/>
    <p:sldLayoutId id="2147484973" r:id="rId107"/>
    <p:sldLayoutId id="2147484974" r:id="rId108"/>
    <p:sldLayoutId id="2147484975" r:id="rId109"/>
    <p:sldLayoutId id="2147484976" r:id="rId110"/>
    <p:sldLayoutId id="2147484977" r:id="rId111"/>
    <p:sldLayoutId id="2147484978" r:id="rId112"/>
    <p:sldLayoutId id="2147484979" r:id="rId113"/>
    <p:sldLayoutId id="2147484980" r:id="rId114"/>
    <p:sldLayoutId id="2147484981" r:id="rId115"/>
    <p:sldLayoutId id="2147484982" r:id="rId116"/>
    <p:sldLayoutId id="2147484983" r:id="rId117"/>
    <p:sldLayoutId id="2147484984" r:id="rId118"/>
    <p:sldLayoutId id="2147484985" r:id="rId119"/>
    <p:sldLayoutId id="2147484986" r:id="rId120"/>
    <p:sldLayoutId id="2147484987" r:id="rId121"/>
    <p:sldLayoutId id="2147484988" r:id="rId122"/>
    <p:sldLayoutId id="2147484989" r:id="rId123"/>
    <p:sldLayoutId id="2147484990" r:id="rId124"/>
    <p:sldLayoutId id="2147484991" r:id="rId125"/>
    <p:sldLayoutId id="2147484992" r:id="rId126"/>
    <p:sldLayoutId id="2147484993" r:id="rId127"/>
    <p:sldLayoutId id="2147484994" r:id="rId128"/>
    <p:sldLayoutId id="2147484995" r:id="rId129"/>
    <p:sldLayoutId id="2147484996" r:id="rId130"/>
    <p:sldLayoutId id="2147484997" r:id="rId131"/>
    <p:sldLayoutId id="2147484998" r:id="rId132"/>
    <p:sldLayoutId id="2147484999" r:id="rId133"/>
    <p:sldLayoutId id="2147485000" r:id="rId134"/>
    <p:sldLayoutId id="2147485001" r:id="rId135"/>
    <p:sldLayoutId id="2147485002" r:id="rId136"/>
    <p:sldLayoutId id="2147485003" r:id="rId137"/>
    <p:sldLayoutId id="2147485004" r:id="rId138"/>
    <p:sldLayoutId id="2147485005" r:id="rId139"/>
    <p:sldLayoutId id="2147485006" r:id="rId140"/>
    <p:sldLayoutId id="2147485007" r:id="rId141"/>
    <p:sldLayoutId id="2147485008" r:id="rId142"/>
    <p:sldLayoutId id="2147485009" r:id="rId143"/>
    <p:sldLayoutId id="2147485010" r:id="rId144"/>
    <p:sldLayoutId id="2147485011" r:id="rId145"/>
    <p:sldLayoutId id="2147485012" r:id="rId146"/>
    <p:sldLayoutId id="2147485013" r:id="rId147"/>
    <p:sldLayoutId id="2147485014" r:id="rId148"/>
    <p:sldLayoutId id="2147485015" r:id="rId149"/>
    <p:sldLayoutId id="2147485016" r:id="rId150"/>
    <p:sldLayoutId id="2147485017" r:id="rId151"/>
    <p:sldLayoutId id="2147485018" r:id="rId152"/>
    <p:sldLayoutId id="2147485019" r:id="rId153"/>
    <p:sldLayoutId id="2147485020" r:id="rId154"/>
    <p:sldLayoutId id="2147485021" r:id="rId155"/>
    <p:sldLayoutId id="2147485022" r:id="rId156"/>
    <p:sldLayoutId id="2147485023" r:id="rId157"/>
    <p:sldLayoutId id="2147485024" r:id="rId158"/>
    <p:sldLayoutId id="2147485025" r:id="rId159"/>
    <p:sldLayoutId id="2147485026" r:id="rId160"/>
    <p:sldLayoutId id="2147485027" r:id="rId161"/>
    <p:sldLayoutId id="2147485028" r:id="rId162"/>
    <p:sldLayoutId id="2147485029" r:id="rId163"/>
    <p:sldLayoutId id="2147485030" r:id="rId164"/>
    <p:sldLayoutId id="2147485031" r:id="rId165"/>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624117089"/>
      </p:ext>
    </p:extLst>
  </p:cSld>
  <p:clrMap bg1="lt1" tx1="dk1" bg2="lt2" tx2="dk2" accent1="accent1" accent2="accent2" accent3="accent3" accent4="accent4" accent5="accent5" accent6="accent6" hlink="hlink" folHlink="folHlink"/>
  <p:sldLayoutIdLst>
    <p:sldLayoutId id="2147485035" r:id="rId1"/>
    <p:sldLayoutId id="2147485036" r:id="rId2"/>
    <p:sldLayoutId id="2147485037" r:id="rId3"/>
    <p:sldLayoutId id="2147485038" r:id="rId4"/>
    <p:sldLayoutId id="2147485039" r:id="rId5"/>
    <p:sldLayoutId id="2147485040" r:id="rId6"/>
    <p:sldLayoutId id="2147485041" r:id="rId7"/>
    <p:sldLayoutId id="2147485042" r:id="rId8"/>
    <p:sldLayoutId id="2147485043" r:id="rId9"/>
    <p:sldLayoutId id="2147485044" r:id="rId10"/>
    <p:sldLayoutId id="2147485045" r:id="rId11"/>
    <p:sldLayoutId id="2147485054" r:id="rId12"/>
    <p:sldLayoutId id="2147485055" r:id="rId13"/>
    <p:sldLayoutId id="2147485056" r:id="rId14"/>
    <p:sldLayoutId id="2147485057" r:id="rId15"/>
    <p:sldLayoutId id="2147485058" r:id="rId16"/>
    <p:sldLayoutId id="2147485059" r:id="rId17"/>
    <p:sldLayoutId id="2147485060" r:id="rId18"/>
    <p:sldLayoutId id="2147485061" r:id="rId19"/>
    <p:sldLayoutId id="2147485062" r:id="rId20"/>
    <p:sldLayoutId id="2147485063" r:id="rId21"/>
    <p:sldLayoutId id="2147485064" r:id="rId22"/>
    <p:sldLayoutId id="2147485065" r:id="rId23"/>
    <p:sldLayoutId id="2147485066" r:id="rId24"/>
    <p:sldLayoutId id="2147485067" r:id="rId25"/>
    <p:sldLayoutId id="2147485068" r:id="rId26"/>
    <p:sldLayoutId id="2147485069" r:id="rId27"/>
    <p:sldLayoutId id="2147485070" r:id="rId28"/>
    <p:sldLayoutId id="2147485071" r:id="rId29"/>
    <p:sldLayoutId id="2147485072" r:id="rId30"/>
    <p:sldLayoutId id="2147485073" r:id="rId31"/>
    <p:sldLayoutId id="2147485074" r:id="rId32"/>
    <p:sldLayoutId id="2147485075" r:id="rId33"/>
    <p:sldLayoutId id="2147485076" r:id="rId34"/>
    <p:sldLayoutId id="2147485077" r:id="rId35"/>
    <p:sldLayoutId id="2147485078" r:id="rId36"/>
    <p:sldLayoutId id="2147485079" r:id="rId37"/>
    <p:sldLayoutId id="2147485080" r:id="rId38"/>
    <p:sldLayoutId id="2147485081" r:id="rId39"/>
    <p:sldLayoutId id="2147485082" r:id="rId40"/>
    <p:sldLayoutId id="2147485083" r:id="rId41"/>
    <p:sldLayoutId id="2147485084" r:id="rId42"/>
    <p:sldLayoutId id="2147485085" r:id="rId43"/>
    <p:sldLayoutId id="2147485086" r:id="rId44"/>
    <p:sldLayoutId id="2147485087" r:id="rId45"/>
    <p:sldLayoutId id="2147485088" r:id="rId46"/>
    <p:sldLayoutId id="2147485089" r:id="rId47"/>
    <p:sldLayoutId id="2147485090" r:id="rId48"/>
    <p:sldLayoutId id="2147485091" r:id="rId49"/>
    <p:sldLayoutId id="2147485092" r:id="rId50"/>
    <p:sldLayoutId id="2147485093" r:id="rId51"/>
    <p:sldLayoutId id="2147485094" r:id="rId52"/>
    <p:sldLayoutId id="2147485095" r:id="rId53"/>
    <p:sldLayoutId id="2147485096" r:id="rId54"/>
    <p:sldLayoutId id="2147485097" r:id="rId55"/>
    <p:sldLayoutId id="2147485098" r:id="rId56"/>
    <p:sldLayoutId id="2147485099" r:id="rId57"/>
    <p:sldLayoutId id="2147485100" r:id="rId58"/>
    <p:sldLayoutId id="2147485101" r:id="rId59"/>
    <p:sldLayoutId id="2147485102" r:id="rId60"/>
    <p:sldLayoutId id="2147485103" r:id="rId61"/>
    <p:sldLayoutId id="2147485104" r:id="rId62"/>
    <p:sldLayoutId id="2147485105" r:id="rId63"/>
    <p:sldLayoutId id="2147485106" r:id="rId64"/>
    <p:sldLayoutId id="2147485107" r:id="rId65"/>
    <p:sldLayoutId id="2147485108" r:id="rId66"/>
    <p:sldLayoutId id="2147485109" r:id="rId67"/>
    <p:sldLayoutId id="2147485110" r:id="rId68"/>
    <p:sldLayoutId id="2147485111" r:id="rId69"/>
    <p:sldLayoutId id="2147485112" r:id="rId70"/>
    <p:sldLayoutId id="2147485113" r:id="rId71"/>
    <p:sldLayoutId id="2147485114" r:id="rId72"/>
    <p:sldLayoutId id="2147485115" r:id="rId73"/>
    <p:sldLayoutId id="2147485116" r:id="rId74"/>
    <p:sldLayoutId id="2147485117" r:id="rId75"/>
    <p:sldLayoutId id="2147485118" r:id="rId76"/>
    <p:sldLayoutId id="2147485119" r:id="rId77"/>
    <p:sldLayoutId id="2147485120" r:id="rId78"/>
    <p:sldLayoutId id="2147485121" r:id="rId79"/>
    <p:sldLayoutId id="2147485122" r:id="rId80"/>
    <p:sldLayoutId id="2147485123" r:id="rId81"/>
    <p:sldLayoutId id="2147485124" r:id="rId82"/>
    <p:sldLayoutId id="2147485125" r:id="rId83"/>
    <p:sldLayoutId id="2147485126" r:id="rId84"/>
    <p:sldLayoutId id="2147485127" r:id="rId85"/>
    <p:sldLayoutId id="2147485128" r:id="rId86"/>
    <p:sldLayoutId id="2147485129" r:id="rId87"/>
    <p:sldLayoutId id="2147485130" r:id="rId88"/>
    <p:sldLayoutId id="2147485131" r:id="rId89"/>
    <p:sldLayoutId id="2147485132" r:id="rId90"/>
    <p:sldLayoutId id="2147485133" r:id="rId91"/>
    <p:sldLayoutId id="2147485134" r:id="rId92"/>
    <p:sldLayoutId id="2147485135" r:id="rId93"/>
    <p:sldLayoutId id="2147485136" r:id="rId94"/>
    <p:sldLayoutId id="2147485137" r:id="rId95"/>
    <p:sldLayoutId id="2147485138" r:id="rId96"/>
    <p:sldLayoutId id="2147485139" r:id="rId97"/>
    <p:sldLayoutId id="2147485140" r:id="rId98"/>
    <p:sldLayoutId id="2147485141" r:id="rId99"/>
    <p:sldLayoutId id="2147485142" r:id="rId100"/>
    <p:sldLayoutId id="2147485143" r:id="rId101"/>
    <p:sldLayoutId id="2147485144" r:id="rId102"/>
    <p:sldLayoutId id="2147485145" r:id="rId103"/>
    <p:sldLayoutId id="2147485146" r:id="rId104"/>
    <p:sldLayoutId id="2147485147" r:id="rId105"/>
    <p:sldLayoutId id="2147485148" r:id="rId106"/>
    <p:sldLayoutId id="2147485149" r:id="rId107"/>
    <p:sldLayoutId id="2147485150" r:id="rId108"/>
    <p:sldLayoutId id="2147485151" r:id="rId109"/>
    <p:sldLayoutId id="2147485152" r:id="rId110"/>
    <p:sldLayoutId id="2147485153" r:id="rId111"/>
    <p:sldLayoutId id="2147485154" r:id="rId112"/>
    <p:sldLayoutId id="2147485155" r:id="rId113"/>
    <p:sldLayoutId id="2147485156" r:id="rId114"/>
    <p:sldLayoutId id="2147485157" r:id="rId115"/>
    <p:sldLayoutId id="2147485158" r:id="rId116"/>
    <p:sldLayoutId id="2147485159" r:id="rId117"/>
    <p:sldLayoutId id="2147485160" r:id="rId118"/>
    <p:sldLayoutId id="2147485161" r:id="rId119"/>
    <p:sldLayoutId id="2147485162" r:id="rId120"/>
    <p:sldLayoutId id="2147485163" r:id="rId121"/>
    <p:sldLayoutId id="2147485164" r:id="rId122"/>
    <p:sldLayoutId id="2147485165" r:id="rId123"/>
    <p:sldLayoutId id="2147485166" r:id="rId124"/>
    <p:sldLayoutId id="2147485167" r:id="rId125"/>
    <p:sldLayoutId id="2147485168" r:id="rId126"/>
    <p:sldLayoutId id="2147485169" r:id="rId127"/>
    <p:sldLayoutId id="2147485170" r:id="rId128"/>
    <p:sldLayoutId id="2147485171" r:id="rId129"/>
    <p:sldLayoutId id="2147485172" r:id="rId130"/>
    <p:sldLayoutId id="2147485173" r:id="rId131"/>
    <p:sldLayoutId id="2147485174" r:id="rId132"/>
    <p:sldLayoutId id="2147485175" r:id="rId133"/>
    <p:sldLayoutId id="2147485176" r:id="rId134"/>
    <p:sldLayoutId id="2147485177" r:id="rId135"/>
    <p:sldLayoutId id="2147485178" r:id="rId136"/>
    <p:sldLayoutId id="2147485179" r:id="rId137"/>
    <p:sldLayoutId id="2147485180" r:id="rId138"/>
    <p:sldLayoutId id="2147485181" r:id="rId139"/>
    <p:sldLayoutId id="2147485182" r:id="rId140"/>
    <p:sldLayoutId id="2147485183" r:id="rId141"/>
    <p:sldLayoutId id="2147485184" r:id="rId142"/>
    <p:sldLayoutId id="2147485185" r:id="rId143"/>
    <p:sldLayoutId id="2147485186" r:id="rId144"/>
    <p:sldLayoutId id="2147485187" r:id="rId145"/>
    <p:sldLayoutId id="2147485188" r:id="rId146"/>
    <p:sldLayoutId id="2147485189" r:id="rId147"/>
    <p:sldLayoutId id="2147485190" r:id="rId148"/>
    <p:sldLayoutId id="2147485191" r:id="rId149"/>
    <p:sldLayoutId id="2147485192" r:id="rId150"/>
    <p:sldLayoutId id="2147485193" r:id="rId151"/>
    <p:sldLayoutId id="2147485194" r:id="rId152"/>
    <p:sldLayoutId id="2147485195" r:id="rId153"/>
    <p:sldLayoutId id="2147485196" r:id="rId154"/>
    <p:sldLayoutId id="2147485197" r:id="rId155"/>
    <p:sldLayoutId id="2147485198" r:id="rId156"/>
    <p:sldLayoutId id="2147485199" r:id="rId157"/>
    <p:sldLayoutId id="2147485200" r:id="rId158"/>
    <p:sldLayoutId id="2147485201" r:id="rId159"/>
    <p:sldLayoutId id="2147485202" r:id="rId160"/>
    <p:sldLayoutId id="2147485203" r:id="rId161"/>
    <p:sldLayoutId id="2147485204" r:id="rId162"/>
    <p:sldLayoutId id="2147485205" r:id="rId163"/>
    <p:sldLayoutId id="2147485206" r:id="rId164"/>
    <p:sldLayoutId id="2147485207" r:id="rId165"/>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r>
              <a:rPr lang="en-US"/>
              <a:t>June 22, 2021</a:t>
            </a:r>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2844031056"/>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4622" r:id="rId11"/>
    <p:sldLayoutId id="2147484623" r:id="rId12"/>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DE880CFC-3614-458D-ADDD-C87C25F4ABD7}" type="datetimeFigureOut">
              <a:rPr lang="en-US" smtClean="0"/>
              <a:t>4/17/2023</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B9ECC7C7-EBC0-4845-A377-676DDC7A0A2C}"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748246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4823" r:id="rId6"/>
    <p:sldLayoutId id="2147484824" r:id="rId7"/>
    <p:sldLayoutId id="2147484825" r:id="rId8"/>
    <p:sldLayoutId id="2147484826" r:id="rId9"/>
    <p:sldLayoutId id="2147484827" r:id="rId10"/>
    <p:sldLayoutId id="2147484828"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ctangle 21"/>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24"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25" name="Rectangle 24"/>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7" name="Picture 6" descr="A picture containing drawing&#10;&#10;Description automatically generated">
            <a:extLst>
              <a:ext uri="{FF2B5EF4-FFF2-40B4-BE49-F238E27FC236}">
                <a16:creationId xmlns:a16="http://schemas.microsoft.com/office/drawing/2014/main" id="{654A90A9-728F-4146-A5FA-AFCA7127AB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1368" y="6004047"/>
            <a:ext cx="1122633" cy="512064"/>
          </a:xfrm>
          <a:prstGeom prst="rect">
            <a:avLst/>
          </a:prstGeom>
        </p:spPr>
      </p:pic>
      <p:pic>
        <p:nvPicPr>
          <p:cNvPr id="9" name="Picture 8">
            <a:extLst>
              <a:ext uri="{FF2B5EF4-FFF2-40B4-BE49-F238E27FC236}">
                <a16:creationId xmlns:a16="http://schemas.microsoft.com/office/drawing/2014/main" id="{2FB242C8-0CCF-42DB-B54C-6A43BA4F670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32800" y="6004047"/>
            <a:ext cx="2011408" cy="512064"/>
          </a:xfrm>
          <a:prstGeom prst="rect">
            <a:avLst/>
          </a:prstGeom>
        </p:spPr>
      </p:pic>
    </p:spTree>
    <p:extLst>
      <p:ext uri="{BB962C8B-B14F-4D97-AF65-F5344CB8AC3E}">
        <p14:creationId xmlns:p14="http://schemas.microsoft.com/office/powerpoint/2010/main" val="1774077609"/>
      </p:ext>
    </p:extLst>
  </p:cSld>
  <p:clrMap bg1="lt1" tx1="dk1" bg2="lt2" tx2="dk2" accent1="accent1" accent2="accent2" accent3="accent3" accent4="accent4" accent5="accent5" accent6="accent6" hlink="hlink" folHlink="folHlink"/>
  <p:sldLayoutIdLst>
    <p:sldLayoutId id="2147483704"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26181D-7A53-A040-AC97-3632FA07C2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F0E8F12-FCC8-CF42-9605-87FE694A1AA7}"/>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91A0F-F7BF-CB44-B2D8-7032671DDD22}"/>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C72525-9746-764B-B206-8261061D1924}" type="datetime1">
              <a:rPr lang="en-US" smtClean="0"/>
              <a:t>4/17/2023</a:t>
            </a:fld>
            <a:endParaRPr lang="en-US"/>
          </a:p>
        </p:txBody>
      </p:sp>
      <p:sp>
        <p:nvSpPr>
          <p:cNvPr id="5" name="Footer Placeholder 4">
            <a:extLst>
              <a:ext uri="{FF2B5EF4-FFF2-40B4-BE49-F238E27FC236}">
                <a16:creationId xmlns:a16="http://schemas.microsoft.com/office/drawing/2014/main" id="{252A5F28-FEAB-BF4B-BF90-03BBF3A9EDCF}"/>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NYS Birth Equity Improvement Project | Engaging Dads</a:t>
            </a:r>
          </a:p>
        </p:txBody>
      </p:sp>
      <p:sp>
        <p:nvSpPr>
          <p:cNvPr id="6" name="Slide Number Placeholder 5">
            <a:extLst>
              <a:ext uri="{FF2B5EF4-FFF2-40B4-BE49-F238E27FC236}">
                <a16:creationId xmlns:a16="http://schemas.microsoft.com/office/drawing/2014/main" id="{2E4AD70C-DF0D-7643-BC73-06E34FB79F3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25E954-4927-3B4A-BC1B-F769BDBB90E5}" type="slidenum">
              <a:rPr lang="en-US" smtClean="0"/>
              <a:t>‹#›</a:t>
            </a:fld>
            <a:endParaRPr lang="en-US"/>
          </a:p>
        </p:txBody>
      </p:sp>
    </p:spTree>
    <p:extLst>
      <p:ext uri="{BB962C8B-B14F-4D97-AF65-F5344CB8AC3E}">
        <p14:creationId xmlns:p14="http://schemas.microsoft.com/office/powerpoint/2010/main" val="224314934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Lst>
  <p:hf sldNum="0"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83CABE15-44AF-4AC9-972E-389AF041679F}" type="datetime1">
              <a:rPr lang="en-US" smtClean="0"/>
              <a:t>4/17/2023</a:t>
            </a:fld>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3043379205"/>
      </p:ext>
    </p:extLst>
  </p:cSld>
  <p:clrMap bg1="lt1" tx1="dk1" bg2="lt2" tx2="dk2" accent1="accent1" accent2="accent2" accent3="accent3" accent4="accent4" accent5="accent5" accent6="accent6" hlink="hlink" folHlink="folHlink"/>
  <p:sldLayoutIdLst>
    <p:sldLayoutId id="2147484820"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12192000" cy="25603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
        <p:nvSpPr>
          <p:cNvPr id="3" name="Text Placeholder 2"/>
          <p:cNvSpPr>
            <a:spLocks noGrp="1"/>
          </p:cNvSpPr>
          <p:nvPr>
            <p:ph type="body" idx="1"/>
          </p:nvPr>
        </p:nvSpPr>
        <p:spPr>
          <a:xfrm>
            <a:off x="609606" y="1561715"/>
            <a:ext cx="10972799" cy="449618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Freeform 5"/>
          <p:cNvSpPr>
            <a:spLocks noEditPoints="1"/>
          </p:cNvSpPr>
          <p:nvPr userDrawn="1"/>
        </p:nvSpPr>
        <p:spPr bwMode="auto">
          <a:xfrm>
            <a:off x="10559823" y="6350477"/>
            <a:ext cx="1022352" cy="334835"/>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13"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4"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Tree>
    <p:extLst>
      <p:ext uri="{BB962C8B-B14F-4D97-AF65-F5344CB8AC3E}">
        <p14:creationId xmlns:p14="http://schemas.microsoft.com/office/powerpoint/2010/main" val="84982935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Lst>
  <p:hf hdr="0" dt="0"/>
  <p:txStyles>
    <p:titleStyle>
      <a:lvl1pPr algn="l" defTabSz="342874" rtl="0" eaLnBrk="1" latinLnBrk="0" hangingPunct="1">
        <a:lnSpc>
          <a:spcPct val="85000"/>
        </a:lnSpc>
        <a:spcBef>
          <a:spcPct val="0"/>
        </a:spcBef>
        <a:buNone/>
        <a:defRPr lang="en-US" sz="2400" b="1" i="0" kern="1200" cap="none" dirty="0">
          <a:solidFill>
            <a:schemeClr val="tx2"/>
          </a:solidFill>
          <a:latin typeface="+mj-lt"/>
          <a:ea typeface="+mj-ea"/>
          <a:cs typeface="+mj-cs"/>
        </a:defRPr>
      </a:lvl1pPr>
    </p:titleStyle>
    <p:bodyStyle>
      <a:lvl1pPr marL="230172" indent="-230172" algn="l" defTabSz="342874" rtl="0" eaLnBrk="1" latinLnBrk="0" hangingPunct="1">
        <a:lnSpc>
          <a:spcPct val="100000"/>
        </a:lnSpc>
        <a:spcBef>
          <a:spcPts val="800"/>
        </a:spcBef>
        <a:buClr>
          <a:schemeClr val="tx2"/>
        </a:buClr>
        <a:buFont typeface="Arial"/>
        <a:buChar char="•"/>
        <a:defRPr sz="1600" kern="1200">
          <a:solidFill>
            <a:schemeClr val="tx1"/>
          </a:solidFill>
          <a:latin typeface="+mn-lt"/>
          <a:ea typeface="+mn-ea"/>
          <a:cs typeface="+mn-cs"/>
        </a:defRPr>
      </a:lvl1pPr>
      <a:lvl2pPr marL="457178" indent="-231758" algn="l" defTabSz="342874" rtl="0" eaLnBrk="1" latinLnBrk="0" hangingPunct="1">
        <a:lnSpc>
          <a:spcPct val="100000"/>
        </a:lnSpc>
        <a:spcBef>
          <a:spcPts val="800"/>
        </a:spcBef>
        <a:buClr>
          <a:schemeClr val="tx2"/>
        </a:buClr>
        <a:buFont typeface="Arial"/>
        <a:buChar char="–"/>
        <a:defRPr sz="1400" kern="1200">
          <a:solidFill>
            <a:schemeClr val="tx1"/>
          </a:solidFill>
          <a:latin typeface="+mn-lt"/>
          <a:ea typeface="+mn-ea"/>
          <a:cs typeface="+mn-cs"/>
        </a:defRPr>
      </a:lvl2pPr>
      <a:lvl3pPr marL="684162" indent="-228584" algn="l" defTabSz="342874" rtl="0" eaLnBrk="1" latinLnBrk="0" hangingPunct="1">
        <a:lnSpc>
          <a:spcPct val="100000"/>
        </a:lnSpc>
        <a:spcBef>
          <a:spcPts val="800"/>
        </a:spcBef>
        <a:buClr>
          <a:schemeClr val="tx2"/>
        </a:buClr>
        <a:buFont typeface="Arial"/>
        <a:buChar char="•"/>
        <a:defRPr sz="1200" kern="1200">
          <a:solidFill>
            <a:schemeClr val="tx1"/>
          </a:solidFill>
          <a:latin typeface="+mn-lt"/>
          <a:ea typeface="+mn-ea"/>
          <a:cs typeface="+mn-cs"/>
        </a:defRPr>
      </a:lvl3pPr>
      <a:lvl4pPr marL="914332" indent="-230172" algn="l" defTabSz="342874" rtl="0" eaLnBrk="1" latinLnBrk="0" hangingPunct="1">
        <a:lnSpc>
          <a:spcPct val="100000"/>
        </a:lnSpc>
        <a:spcBef>
          <a:spcPts val="800"/>
        </a:spcBef>
        <a:buClr>
          <a:schemeClr val="tx2"/>
        </a:buClr>
        <a:buFont typeface="Arial"/>
        <a:buChar char="–"/>
        <a:defRPr sz="1200" kern="1200">
          <a:solidFill>
            <a:schemeClr val="tx1"/>
          </a:solidFill>
          <a:latin typeface="+mn-lt"/>
          <a:ea typeface="+mn-ea"/>
          <a:cs typeface="+mn-cs"/>
        </a:defRPr>
      </a:lvl4pPr>
      <a:lvl5pPr marL="1144502" indent="-230172" algn="l" defTabSz="342874" rtl="0" eaLnBrk="1" latinLnBrk="0" hangingPunct="1">
        <a:lnSpc>
          <a:spcPct val="100000"/>
        </a:lnSpc>
        <a:spcBef>
          <a:spcPts val="800"/>
        </a:spcBef>
        <a:buClr>
          <a:schemeClr val="tx2"/>
        </a:buClr>
        <a:buFont typeface="Arial" panose="020B0604020202020204" pitchFamily="34" charset="0"/>
        <a:buChar char="•"/>
        <a:defRPr sz="1200" kern="1200">
          <a:solidFill>
            <a:schemeClr val="tx1"/>
          </a:solidFill>
          <a:latin typeface="+mn-lt"/>
          <a:ea typeface="+mn-ea"/>
          <a:cs typeface="+mn-cs"/>
        </a:defRPr>
      </a:lvl5pPr>
      <a:lvl6pPr marL="1885810" indent="-171438" algn="l" defTabSz="342874" rtl="0" eaLnBrk="1" latinLnBrk="0" hangingPunct="1">
        <a:spcBef>
          <a:spcPct val="20000"/>
        </a:spcBef>
        <a:buFont typeface="Arial"/>
        <a:buChar char="•"/>
        <a:defRPr sz="1500" kern="1200">
          <a:solidFill>
            <a:schemeClr val="tx1"/>
          </a:solidFill>
          <a:latin typeface="+mn-lt"/>
          <a:ea typeface="+mn-ea"/>
          <a:cs typeface="+mn-cs"/>
        </a:defRPr>
      </a:lvl6pPr>
      <a:lvl7pPr marL="2228683" indent="-171438" algn="l" defTabSz="342874"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4" rtl="0" eaLnBrk="1" latinLnBrk="0" hangingPunct="1">
        <a:spcBef>
          <a:spcPct val="20000"/>
        </a:spcBef>
        <a:buFont typeface="Arial"/>
        <a:buChar char="•"/>
        <a:defRPr sz="1500" kern="1200">
          <a:solidFill>
            <a:schemeClr val="tx1"/>
          </a:solidFill>
          <a:latin typeface="+mn-lt"/>
          <a:ea typeface="+mn-ea"/>
          <a:cs typeface="+mn-cs"/>
        </a:defRPr>
      </a:lvl8pPr>
      <a:lvl9pPr marL="2914434" indent="-171438" algn="l" defTabSz="342874"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74" rtl="0" eaLnBrk="1" latinLnBrk="0" hangingPunct="1">
        <a:defRPr sz="1351" kern="1200">
          <a:solidFill>
            <a:schemeClr val="tx1"/>
          </a:solidFill>
          <a:latin typeface="+mn-lt"/>
          <a:ea typeface="+mn-ea"/>
          <a:cs typeface="+mn-cs"/>
        </a:defRPr>
      </a:lvl1pPr>
      <a:lvl2pPr marL="342874" algn="l" defTabSz="342874" rtl="0" eaLnBrk="1" latinLnBrk="0" hangingPunct="1">
        <a:defRPr sz="1351" kern="1200">
          <a:solidFill>
            <a:schemeClr val="tx1"/>
          </a:solidFill>
          <a:latin typeface="+mn-lt"/>
          <a:ea typeface="+mn-ea"/>
          <a:cs typeface="+mn-cs"/>
        </a:defRPr>
      </a:lvl2pPr>
      <a:lvl3pPr marL="685750" algn="l" defTabSz="342874" rtl="0" eaLnBrk="1" latinLnBrk="0" hangingPunct="1">
        <a:defRPr sz="1351" kern="1200">
          <a:solidFill>
            <a:schemeClr val="tx1"/>
          </a:solidFill>
          <a:latin typeface="+mn-lt"/>
          <a:ea typeface="+mn-ea"/>
          <a:cs typeface="+mn-cs"/>
        </a:defRPr>
      </a:lvl3pPr>
      <a:lvl4pPr marL="1028624" algn="l" defTabSz="342874" rtl="0" eaLnBrk="1" latinLnBrk="0" hangingPunct="1">
        <a:defRPr sz="1351" kern="1200">
          <a:solidFill>
            <a:schemeClr val="tx1"/>
          </a:solidFill>
          <a:latin typeface="+mn-lt"/>
          <a:ea typeface="+mn-ea"/>
          <a:cs typeface="+mn-cs"/>
        </a:defRPr>
      </a:lvl4pPr>
      <a:lvl5pPr marL="1371498" algn="l" defTabSz="342874" rtl="0" eaLnBrk="1" latinLnBrk="0" hangingPunct="1">
        <a:defRPr sz="1351" kern="1200">
          <a:solidFill>
            <a:schemeClr val="tx1"/>
          </a:solidFill>
          <a:latin typeface="+mn-lt"/>
          <a:ea typeface="+mn-ea"/>
          <a:cs typeface="+mn-cs"/>
        </a:defRPr>
      </a:lvl5pPr>
      <a:lvl6pPr marL="1714372" algn="l" defTabSz="342874" rtl="0" eaLnBrk="1" latinLnBrk="0" hangingPunct="1">
        <a:defRPr sz="1351" kern="1200">
          <a:solidFill>
            <a:schemeClr val="tx1"/>
          </a:solidFill>
          <a:latin typeface="+mn-lt"/>
          <a:ea typeface="+mn-ea"/>
          <a:cs typeface="+mn-cs"/>
        </a:defRPr>
      </a:lvl6pPr>
      <a:lvl7pPr marL="2057247" algn="l" defTabSz="342874" rtl="0" eaLnBrk="1" latinLnBrk="0" hangingPunct="1">
        <a:defRPr sz="1351" kern="1200">
          <a:solidFill>
            <a:schemeClr val="tx1"/>
          </a:solidFill>
          <a:latin typeface="+mn-lt"/>
          <a:ea typeface="+mn-ea"/>
          <a:cs typeface="+mn-cs"/>
        </a:defRPr>
      </a:lvl7pPr>
      <a:lvl8pPr marL="2400120" algn="l" defTabSz="342874" rtl="0" eaLnBrk="1" latinLnBrk="0" hangingPunct="1">
        <a:defRPr sz="1351" kern="1200">
          <a:solidFill>
            <a:schemeClr val="tx1"/>
          </a:solidFill>
          <a:latin typeface="+mn-lt"/>
          <a:ea typeface="+mn-ea"/>
          <a:cs typeface="+mn-cs"/>
        </a:defRPr>
      </a:lvl8pPr>
      <a:lvl9pPr marL="2742994" algn="l" defTabSz="342874"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72" userDrawn="1">
          <p15:clr>
            <a:srgbClr val="F26B43"/>
          </p15:clr>
        </p15:guide>
        <p15:guide id="2" pos="7296" userDrawn="1">
          <p15:clr>
            <a:srgbClr val="F26B43"/>
          </p15:clr>
        </p15:guide>
        <p15:guide id="3" orient="horz" pos="640" userDrawn="1">
          <p15:clr>
            <a:srgbClr val="F26B43"/>
          </p15:clr>
        </p15:guide>
        <p15:guide id="4" pos="384" userDrawn="1">
          <p15:clr>
            <a:srgbClr val="F26B43"/>
          </p15:clr>
        </p15:guide>
        <p15:guide id="6" orient="horz" pos="5088" userDrawn="1">
          <p15:clr>
            <a:srgbClr val="F26B43"/>
          </p15:clr>
        </p15:guide>
        <p15:guide id="7" orient="horz" pos="2880" userDrawn="1">
          <p15:clr>
            <a:srgbClr val="F26B43"/>
          </p15:clr>
        </p15:guide>
        <p15:guide id="8" orient="horz" pos="1312"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2108200"/>
            <a:ext cx="7112000" cy="36576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10"/>
          <p:cNvSpPr/>
          <p:nvPr userDrawn="1"/>
        </p:nvSpPr>
        <p:spPr>
          <a:xfrm>
            <a:off x="0" y="2053939"/>
            <a:ext cx="711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solidFill>
                  <a:srgbClr val="002D73"/>
                </a:solidFill>
              </a:rPr>
              <a:pPr/>
              <a:t>‹#›</a:t>
            </a:fld>
            <a:endParaRPr lang="en-US" sz="1600">
              <a:solidFill>
                <a:srgbClr val="002D73"/>
              </a:solidFill>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37600" y="6070600"/>
            <a:ext cx="2011408" cy="512064"/>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E9E2B910-904B-4A74-B5B9-F94C78A10F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66169" y="6070600"/>
            <a:ext cx="1122633" cy="512064"/>
          </a:xfrm>
          <a:prstGeom prst="rect">
            <a:avLst/>
          </a:prstGeom>
        </p:spPr>
      </p:pic>
    </p:spTree>
    <p:extLst>
      <p:ext uri="{BB962C8B-B14F-4D97-AF65-F5344CB8AC3E}">
        <p14:creationId xmlns:p14="http://schemas.microsoft.com/office/powerpoint/2010/main" val="1824967908"/>
      </p:ext>
    </p:extLst>
  </p:cSld>
  <p:clrMap bg1="lt1" tx1="dk1" bg2="lt2" tx2="dk2" accent1="accent1" accent2="accent2" accent3="accent3" accent4="accent4" accent5="accent5" accent6="accent6" hlink="hlink" folHlink="folHlink"/>
  <p:sldLayoutIdLst>
    <p:sldLayoutId id="2147483964" r:id="rId1"/>
  </p:sldLayoutIdLst>
  <p:hf sldNum="0" hdr="0" ftr="0" dt="0"/>
  <p:txStyles>
    <p:titleStyle>
      <a:lvl1pPr algn="ctr" defTabSz="121914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121914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xml"/><Relationship Id="rId1" Type="http://schemas.openxmlformats.org/officeDocument/2006/relationships/slideLayout" Target="../slideLayouts/slideLayout6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2.xml.rels><?xml version="1.0" encoding="UTF-8" standalone="yes"?>
<Relationships xmlns="http://schemas.openxmlformats.org/package/2006/relationships"><Relationship Id="rId2" Type="http://schemas.openxmlformats.org/officeDocument/2006/relationships/hyperlink" Target="mailto:info@ilpqc.org" TargetMode="Externa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8" Type="http://schemas.openxmlformats.org/officeDocument/2006/relationships/image" Target="../media/image74.svg"/><Relationship Id="rId13"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svg"/><Relationship Id="rId2" Type="http://schemas.openxmlformats.org/officeDocument/2006/relationships/notesSlide" Target="../notesSlides/notesSlide5.xml"/><Relationship Id="rId16" Type="http://schemas.openxmlformats.org/officeDocument/2006/relationships/image" Target="../media/image82.svg"/><Relationship Id="rId1" Type="http://schemas.openxmlformats.org/officeDocument/2006/relationships/slideLayout" Target="../slideLayouts/slideLayout149.xml"/><Relationship Id="rId6" Type="http://schemas.openxmlformats.org/officeDocument/2006/relationships/image" Target="../media/image72.svg"/><Relationship Id="rId11" Type="http://schemas.openxmlformats.org/officeDocument/2006/relationships/image" Target="../media/image77.png"/><Relationship Id="rId5" Type="http://schemas.openxmlformats.org/officeDocument/2006/relationships/image" Target="../media/image71.png"/><Relationship Id="rId15" Type="http://schemas.openxmlformats.org/officeDocument/2006/relationships/image" Target="../media/image81.png"/><Relationship Id="rId10" Type="http://schemas.openxmlformats.org/officeDocument/2006/relationships/image" Target="../media/image76.svg"/><Relationship Id="rId4" Type="http://schemas.openxmlformats.org/officeDocument/2006/relationships/image" Target="../media/image70.svg"/><Relationship Id="rId9" Type="http://schemas.openxmlformats.org/officeDocument/2006/relationships/image" Target="../media/image75.png"/><Relationship Id="rId14" Type="http://schemas.openxmlformats.org/officeDocument/2006/relationships/image" Target="../media/image80.svg"/></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49.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49.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149.xml"/><Relationship Id="rId4" Type="http://schemas.openxmlformats.org/officeDocument/2006/relationships/chart" Target="../charts/chart6.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microsoft.com/office/2018/10/relationships/comments" Target="../comments/modernComment_10E_D4919EC8.xml"/><Relationship Id="rId1" Type="http://schemas.openxmlformats.org/officeDocument/2006/relationships/slideLayout" Target="../slideLayouts/slideLayout149.xml"/></Relationships>
</file>

<file path=ppt/slides/_rels/slide2.xml.rels><?xml version="1.0" encoding="UTF-8" standalone="yes"?>
<Relationships xmlns="http://schemas.openxmlformats.org/package/2006/relationships"><Relationship Id="rId3" Type="http://schemas.openxmlformats.org/officeDocument/2006/relationships/hyperlink" Target="https://blackmamasmatter.org/" TargetMode="External"/><Relationship Id="rId2" Type="http://schemas.openxmlformats.org/officeDocument/2006/relationships/hyperlink" Target="https://blackmamasmatter.org/2023-black-maternal-health-week/" TargetMode="Externa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1.png"/><Relationship Id="rId7" Type="http://schemas.openxmlformats.org/officeDocument/2006/relationships/image" Target="../media/image83.png"/><Relationship Id="rId2" Type="http://schemas.openxmlformats.org/officeDocument/2006/relationships/notesSlide" Target="../notesSlides/notesSlide10.xml"/><Relationship Id="rId1" Type="http://schemas.openxmlformats.org/officeDocument/2006/relationships/slideLayout" Target="../slideLayouts/slideLayout19.xml"/><Relationship Id="rId6" Type="http://schemas.openxmlformats.org/officeDocument/2006/relationships/image" Target="../media/image74.svg"/><Relationship Id="rId5" Type="http://schemas.openxmlformats.org/officeDocument/2006/relationships/image" Target="../media/image73.png"/><Relationship Id="rId4" Type="http://schemas.openxmlformats.org/officeDocument/2006/relationships/image" Target="../media/image72.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88.svg"/><Relationship Id="rId5" Type="http://schemas.openxmlformats.org/officeDocument/2006/relationships/image" Target="../media/image87.png"/><Relationship Id="rId4" Type="http://schemas.openxmlformats.org/officeDocument/2006/relationships/image" Target="../media/image86.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diagramLayout" Target="../diagrams/layout3.xml"/><Relationship Id="rId7" Type="http://schemas.openxmlformats.org/officeDocument/2006/relationships/image" Target="../media/image89.png"/><Relationship Id="rId2" Type="http://schemas.openxmlformats.org/officeDocument/2006/relationships/diagramData" Target="../diagrams/data3.xml"/><Relationship Id="rId1" Type="http://schemas.openxmlformats.org/officeDocument/2006/relationships/slideLayout" Target="../slideLayouts/slideLayout149.xml"/><Relationship Id="rId6" Type="http://schemas.microsoft.com/office/2007/relationships/diagramDrawing" Target="../diagrams/drawing3.xml"/><Relationship Id="rId5" Type="http://schemas.openxmlformats.org/officeDocument/2006/relationships/diagramColors" Target="../diagrams/colors3.xml"/><Relationship Id="rId10" Type="http://schemas.openxmlformats.org/officeDocument/2006/relationships/image" Target="../media/image92.svg"/><Relationship Id="rId4" Type="http://schemas.openxmlformats.org/officeDocument/2006/relationships/diagramQuickStyle" Target="../diagrams/quickStyle3.xml"/><Relationship Id="rId9" Type="http://schemas.openxmlformats.org/officeDocument/2006/relationships/image" Target="../media/image91.png"/></Relationships>
</file>

<file path=ppt/slides/_rels/slide28.xml.rels><?xml version="1.0" encoding="UTF-8" standalone="yes"?>
<Relationships xmlns="http://schemas.openxmlformats.org/package/2006/relationships"><Relationship Id="rId8" Type="http://schemas.openxmlformats.org/officeDocument/2006/relationships/image" Target="../media/image94.svg"/><Relationship Id="rId3" Type="http://schemas.openxmlformats.org/officeDocument/2006/relationships/diagramLayout" Target="../diagrams/layout4.xml"/><Relationship Id="rId7" Type="http://schemas.openxmlformats.org/officeDocument/2006/relationships/image" Target="../media/image93.png"/><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hyperlink" Target="https://www.eventbrite.com/e/toxic-a-black-womans-story-film-screening-tickets-604342754447" TargetMode="Externa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image" Target="../media/image97.png"/><Relationship Id="rId7" Type="http://schemas.openxmlformats.org/officeDocument/2006/relationships/image" Target="../media/image101.png"/><Relationship Id="rId12" Type="http://schemas.microsoft.com/office/2007/relationships/diagramDrawing" Target="../diagrams/drawing5.xml"/><Relationship Id="rId2" Type="http://schemas.openxmlformats.org/officeDocument/2006/relationships/notesSlide" Target="../notesSlides/notesSlide12.xml"/><Relationship Id="rId1" Type="http://schemas.openxmlformats.org/officeDocument/2006/relationships/slideLayout" Target="../slideLayouts/slideLayout154.xml"/><Relationship Id="rId6" Type="http://schemas.openxmlformats.org/officeDocument/2006/relationships/image" Target="../media/image100.png"/><Relationship Id="rId11" Type="http://schemas.openxmlformats.org/officeDocument/2006/relationships/diagramColors" Target="../diagrams/colors5.xml"/><Relationship Id="rId5" Type="http://schemas.openxmlformats.org/officeDocument/2006/relationships/image" Target="../media/image99.png"/><Relationship Id="rId10" Type="http://schemas.openxmlformats.org/officeDocument/2006/relationships/diagramQuickStyle" Target="../diagrams/quickStyle5.xml"/><Relationship Id="rId4" Type="http://schemas.openxmlformats.org/officeDocument/2006/relationships/image" Target="../media/image98.png"/><Relationship Id="rId9" Type="http://schemas.openxmlformats.org/officeDocument/2006/relationships/diagramLayout" Target="../diagrams/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5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54.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54.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554.xml"/><Relationship Id="rId4" Type="http://schemas.openxmlformats.org/officeDocument/2006/relationships/hyperlink" Target="https://www.awhonn.org/awhonn-sbars/"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5.xml"/><Relationship Id="rId1" Type="http://schemas.openxmlformats.org/officeDocument/2006/relationships/slideLayout" Target="../slideLayouts/slideLayout554.xml"/><Relationship Id="rId4" Type="http://schemas.openxmlformats.org/officeDocument/2006/relationships/image" Target="../media/image105.png"/></Relationships>
</file>

<file path=ppt/slides/_rels/slide4.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hyperlink" Target="https://sites.google.com/picturemotion.com/aftershock-website-toolkit/home" TargetMode="Externa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106.jpeg"/><Relationship Id="rId2" Type="http://schemas.openxmlformats.org/officeDocument/2006/relationships/hyperlink" Target="https://www.cdc.gov/hearher/healthcare-providers/index.html?s_cid=DRH_Hear_Her_SearchOY1_HCPs_Brand_Main" TargetMode="External"/><Relationship Id="rId1" Type="http://schemas.openxmlformats.org/officeDocument/2006/relationships/slideLayout" Target="../slideLayouts/slideLayout552.xml"/></Relationships>
</file>

<file path=ppt/slides/_rels/slide4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557.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5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3.xml.rels><?xml version="1.0" encoding="UTF-8" standalone="yes"?>
<Relationships xmlns="http://schemas.openxmlformats.org/package/2006/relationships"><Relationship Id="rId3" Type="http://schemas.openxmlformats.org/officeDocument/2006/relationships/hyperlink" Target="https://www.birthplacelab.org/wp-content/uploads/2020/05/Person-Centred-Decision-Making.pdf" TargetMode="External"/><Relationship Id="rId2" Type="http://schemas.openxmlformats.org/officeDocument/2006/relationships/hyperlink" Target="https://www.birthplacelab.org/decision-making-tool/" TargetMode="External"/><Relationship Id="rId1" Type="http://schemas.openxmlformats.org/officeDocument/2006/relationships/slideLayout" Target="../slideLayouts/slideLayout554.xml"/><Relationship Id="rId4" Type="http://schemas.openxmlformats.org/officeDocument/2006/relationships/image" Target="../media/image108.png"/></Relationships>
</file>

<file path=ppt/slides/_rels/slide4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67.xml"/><Relationship Id="rId4" Type="http://schemas.openxmlformats.org/officeDocument/2006/relationships/image" Target="../media/image110.png"/></Relationships>
</file>

<file path=ppt/slides/_rels/slide45.xml.rels><?xml version="1.0" encoding="UTF-8" standalone="yes"?>
<Relationships xmlns="http://schemas.openxmlformats.org/package/2006/relationships"><Relationship Id="rId3" Type="http://schemas.openxmlformats.org/officeDocument/2006/relationships/hyperlink" Target="https://ilpqc.org/ILPQC%202020%2B/PVB/Toolkit/PNEM/AHRQ%20Patient%20Options%20Poster.pdf" TargetMode="External"/><Relationship Id="rId2" Type="http://schemas.openxmlformats.org/officeDocument/2006/relationships/hyperlink" Target="https://ilpqc.org/ILPQC%202020%2B/PVB/Toolkit/PNEM/SHARE%20Poster%20for%20Providers.pdf" TargetMode="External"/><Relationship Id="rId1" Type="http://schemas.openxmlformats.org/officeDocument/2006/relationships/slideLayout" Target="../slideLayouts/slideLayout5.xml"/><Relationship Id="rId4" Type="http://schemas.openxmlformats.org/officeDocument/2006/relationships/image" Target="../media/image111.png"/></Relationships>
</file>

<file path=ppt/slides/_rels/slide46.xml.rels><?xml version="1.0" encoding="UTF-8" standalone="yes"?>
<Relationships xmlns="http://schemas.openxmlformats.org/package/2006/relationships"><Relationship Id="rId3" Type="http://schemas.openxmlformats.org/officeDocument/2006/relationships/hyperlink" Target="https://ilpqc.org/wp-content/uploads/2022/08/Labor-Partnership-Patient-Form-2.pdf" TargetMode="External"/><Relationship Id="rId2" Type="http://schemas.openxmlformats.org/officeDocument/2006/relationships/hyperlink" Target="https://ilpqc.org/wp-content/uploads/2022/08/Labor-Partnership-Agreement-booklet-1.pdf" TargetMode="External"/><Relationship Id="rId1" Type="http://schemas.openxmlformats.org/officeDocument/2006/relationships/slideLayout" Target="../slideLayouts/slideLayout5.xml"/><Relationship Id="rId4" Type="http://schemas.openxmlformats.org/officeDocument/2006/relationships/image" Target="../media/image112.jpeg"/></Relationships>
</file>

<file path=ppt/slides/_rels/slide47.xml.rels><?xml version="1.0" encoding="UTF-8" standalone="yes"?>
<Relationships xmlns="http://schemas.openxmlformats.org/package/2006/relationships"><Relationship Id="rId3" Type="http://schemas.openxmlformats.org/officeDocument/2006/relationships/hyperlink" Target="https://www.ariadnelabs.org/resources/downloads/team-birth-labor-and-delivery-planning-board/" TargetMode="External"/><Relationship Id="rId2" Type="http://schemas.openxmlformats.org/officeDocument/2006/relationships/hyperlink" Target="https://www.ariadnelabs.org/delivery-decisions-initiative/teambirth/" TargetMode="External"/><Relationship Id="rId1" Type="http://schemas.openxmlformats.org/officeDocument/2006/relationships/slideLayout" Target="../slideLayouts/slideLayout554.xml"/><Relationship Id="rId5" Type="http://schemas.openxmlformats.org/officeDocument/2006/relationships/image" Target="../media/image114.png"/><Relationship Id="rId4" Type="http://schemas.openxmlformats.org/officeDocument/2006/relationships/image" Target="../media/image113.png"/></Relationships>
</file>

<file path=ppt/slides/_rels/slide48.xml.rels><?xml version="1.0" encoding="UTF-8" standalone="yes"?>
<Relationships xmlns="http://schemas.openxmlformats.org/package/2006/relationships"><Relationship Id="rId3" Type="http://schemas.openxmlformats.org/officeDocument/2006/relationships/hyperlink" Target="https://ilpqc.org/ILPQC%202020%2B/PVB/Toolkit/PE/ACNM%20Am%20I%20in%20Labor.pdf" TargetMode="External"/><Relationship Id="rId7" Type="http://schemas.openxmlformats.org/officeDocument/2006/relationships/image" Target="../media/image117.emf"/><Relationship Id="rId2" Type="http://schemas.openxmlformats.org/officeDocument/2006/relationships/notesSlide" Target="../notesSlides/notesSlide17.xml"/><Relationship Id="rId1" Type="http://schemas.openxmlformats.org/officeDocument/2006/relationships/slideLayout" Target="../slideLayouts/slideLayout72.xml"/><Relationship Id="rId6" Type="http://schemas.openxmlformats.org/officeDocument/2006/relationships/image" Target="../media/image116.emf"/><Relationship Id="rId5" Type="http://schemas.openxmlformats.org/officeDocument/2006/relationships/image" Target="../media/image115.png"/><Relationship Id="rId4" Type="http://schemas.openxmlformats.org/officeDocument/2006/relationships/hyperlink" Target="https://ilpqc.org/ILPQC%202020%2B/PVB/Toolkit/PE/Lamaze-Keep%20Calm%20and%20Labor%20On.pdf" TargetMode="Externa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54.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5.xml.rels><?xml version="1.0" encoding="UTF-8" standalone="yes"?>
<Relationships xmlns="http://schemas.openxmlformats.org/package/2006/relationships"><Relationship Id="rId3" Type="http://schemas.openxmlformats.org/officeDocument/2006/relationships/hyperlink" Target="https://www.pbs.org/show/birthing-justice/" TargetMode="External"/><Relationship Id="rId2" Type="http://schemas.openxmlformats.org/officeDocument/2006/relationships/image" Target="../media/image67.jpeg"/><Relationship Id="rId1" Type="http://schemas.openxmlformats.org/officeDocument/2006/relationships/slideLayout" Target="../slideLayouts/slideLayout5.xml"/><Relationship Id="rId4" Type="http://schemas.openxmlformats.org/officeDocument/2006/relationships/hyperlink" Target="https://to.pbs.org/3nSRyYa"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8.xml"/><Relationship Id="rId1" Type="http://schemas.openxmlformats.org/officeDocument/2006/relationships/slideLayout" Target="../slideLayouts/slideLayout554.xml"/><Relationship Id="rId4" Type="http://schemas.openxmlformats.org/officeDocument/2006/relationships/image" Target="../media/image105.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54.xml"/></Relationships>
</file>

<file path=ppt/slides/_rels/slide52.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554.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5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55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5.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3.xml"/></Relationships>
</file>

<file path=ppt/slides/_rels/slide66.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24.xml"/></Relationships>
</file>

<file path=ppt/slides/_rels/slide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xml"/><Relationship Id="rId1" Type="http://schemas.openxmlformats.org/officeDocument/2006/relationships/slideLayout" Target="../slideLayouts/slideLayout101.xml"/></Relationships>
</file>

<file path=ppt/slides/_rels/slide70.xml.rels><?xml version="1.0" encoding="UTF-8" standalone="yes"?>
<Relationships xmlns="http://schemas.openxmlformats.org/package/2006/relationships"><Relationship Id="rId2" Type="http://schemas.openxmlformats.org/officeDocument/2006/relationships/image" Target="../media/image132.jpeg"/><Relationship Id="rId1" Type="http://schemas.openxmlformats.org/officeDocument/2006/relationships/slideLayout" Target="../slideLayouts/slideLayout52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2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2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52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32.xml"/></Relationships>
</file>

<file path=ppt/slides/_rels/slide76.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54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36.xml"/></Relationships>
</file>

<file path=ppt/slides/_rels/slide78.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53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80.xml.rels><?xml version="1.0" encoding="UTF-8" standalone="yes"?>
<Relationships xmlns="http://schemas.openxmlformats.org/package/2006/relationships"><Relationship Id="rId2" Type="http://schemas.openxmlformats.org/officeDocument/2006/relationships/image" Target="../media/image135.png"/><Relationship Id="rId1" Type="http://schemas.openxmlformats.org/officeDocument/2006/relationships/slideLayout" Target="../slideLayouts/slideLayout542.xml"/></Relationships>
</file>

<file path=ppt/slides/_rels/slide81.xml.rels><?xml version="1.0" encoding="UTF-8" standalone="yes"?>
<Relationships xmlns="http://schemas.openxmlformats.org/package/2006/relationships"><Relationship Id="rId2" Type="http://schemas.openxmlformats.org/officeDocument/2006/relationships/image" Target="../media/image136.jpeg"/><Relationship Id="rId1" Type="http://schemas.openxmlformats.org/officeDocument/2006/relationships/slideLayout" Target="../slideLayouts/slideLayout540.xml"/></Relationships>
</file>

<file path=ppt/slides/_rels/slide82.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540.xml"/></Relationships>
</file>

<file path=ppt/slides/_rels/slide83.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540.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539.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45.xml"/></Relationships>
</file>

<file path=ppt/slides/_rels/slide86.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1.xml"/><Relationship Id="rId1" Type="http://schemas.openxmlformats.org/officeDocument/2006/relationships/slideLayout" Target="../slideLayouts/slideLayout46.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88.xml.rels><?xml version="1.0" encoding="UTF-8" standalone="yes"?>
<Relationships xmlns="http://schemas.openxmlformats.org/package/2006/relationships"><Relationship Id="rId3" Type="http://schemas.openxmlformats.org/officeDocument/2006/relationships/hyperlink" Target="https://ilpqc.org/ilpqc-2023-ob-neonatal-face-to-face-meetings/" TargetMode="External"/><Relationship Id="rId2" Type="http://schemas.openxmlformats.org/officeDocument/2006/relationships/notesSlide" Target="../notesSlides/notesSlide22.xml"/><Relationship Id="rId1" Type="http://schemas.openxmlformats.org/officeDocument/2006/relationships/slideLayout" Target="../slideLayouts/slideLayout67.xml"/><Relationship Id="rId5" Type="http://schemas.openxmlformats.org/officeDocument/2006/relationships/image" Target="../media/image146.svg"/><Relationship Id="rId4" Type="http://schemas.openxmlformats.org/officeDocument/2006/relationships/image" Target="../media/image145.png"/></Relationships>
</file>

<file path=ppt/slides/_rels/slide89.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49.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341423" y="2268697"/>
            <a:ext cx="5130670" cy="1850151"/>
          </a:xfrm>
        </p:spPr>
        <p:txBody>
          <a:bodyPr>
            <a:normAutofit fontScale="90000"/>
          </a:bodyPr>
          <a:lstStyle/>
          <a:p>
            <a:r>
              <a:rPr lang="en-US" dirty="0">
                <a:ea typeface="Lato Medium"/>
                <a:cs typeface="Lato Medium"/>
              </a:rPr>
              <a:t>BE Teams Call: Using PREM Survey Data Feedback to Improve Respectful Care </a:t>
            </a:r>
            <a:endParaRPr lang="en-US" dirty="0">
              <a:cs typeface="Lato Medium"/>
            </a:endParaRP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341423" y="4198183"/>
            <a:ext cx="5194433" cy="986569"/>
          </a:xfrm>
        </p:spPr>
        <p:txBody>
          <a:bodyPr vert="horz" lIns="91440" tIns="45720" rIns="91440" bIns="45720" rtlCol="0" anchor="t">
            <a:normAutofit/>
          </a:bodyPr>
          <a:lstStyle/>
          <a:p>
            <a:r>
              <a:rPr lang="en-US" dirty="0">
                <a:ea typeface="Lato"/>
                <a:cs typeface="Lato"/>
              </a:rPr>
              <a:t>Monday, April 17th, 2023</a:t>
            </a:r>
          </a:p>
        </p:txBody>
      </p:sp>
      <p:pic>
        <p:nvPicPr>
          <p:cNvPr id="5" name="object 10" descr="Woman kissing newborn baby"/>
          <p:cNvPicPr/>
          <p:nvPr/>
        </p:nvPicPr>
        <p:blipFill>
          <a:blip r:embed="rId3" cstate="email">
            <a:extLst>
              <a:ext uri="{28A0092B-C50C-407E-A947-70E740481C1C}">
                <a14:useLocalDpi xmlns:a14="http://schemas.microsoft.com/office/drawing/2010/main"/>
              </a:ext>
            </a:extLst>
          </a:blip>
          <a:stretch>
            <a:fillRect/>
          </a:stretch>
        </p:blipFill>
        <p:spPr>
          <a:xfrm>
            <a:off x="6709082" y="1267275"/>
            <a:ext cx="5589946" cy="3837481"/>
          </a:xfrm>
          <a:prstGeom prst="ellipse">
            <a:avLst/>
          </a:prstGeom>
          <a:ln>
            <a:noFill/>
          </a:ln>
          <a:effectLst>
            <a:softEdge rad="112500"/>
          </a:effectLst>
        </p:spPr>
      </p:pic>
    </p:spTree>
    <p:extLst>
      <p:ext uri="{BB962C8B-B14F-4D97-AF65-F5344CB8AC3E}">
        <p14:creationId xmlns:p14="http://schemas.microsoft.com/office/powerpoint/2010/main" val="2583965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95018" y="833490"/>
            <a:ext cx="28179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990618" y="833490"/>
            <a:ext cx="26655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771198" y="833490"/>
            <a:ext cx="2960359"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3780818" y="974388"/>
            <a:ext cx="1676400" cy="369332"/>
          </a:xfrm>
          <a:prstGeom prst="rect">
            <a:avLst/>
          </a:prstGeom>
          <a:noFill/>
          <a:ln>
            <a:solidFill>
              <a:schemeClr val="tx1"/>
            </a:solidFill>
          </a:ln>
        </p:spPr>
        <p:txBody>
          <a:bodyPr wrap="square" rtlCol="0">
            <a:spAutoFit/>
          </a:bodyPr>
          <a:lstStyle/>
          <a:p>
            <a:pPr algn="ctr"/>
            <a:r>
              <a:rPr lang="en-US"/>
              <a:t>Hospital Name</a:t>
            </a:r>
          </a:p>
        </p:txBody>
      </p:sp>
      <p:sp>
        <p:nvSpPr>
          <p:cNvPr id="9" name="TextBox 8"/>
          <p:cNvSpPr txBox="1"/>
          <p:nvPr/>
        </p:nvSpPr>
        <p:spPr>
          <a:xfrm>
            <a:off x="3782256" y="2885139"/>
            <a:ext cx="1676400" cy="646331"/>
          </a:xfrm>
          <a:prstGeom prst="rect">
            <a:avLst/>
          </a:prstGeom>
          <a:noFill/>
          <a:ln>
            <a:solidFill>
              <a:schemeClr val="tx1"/>
            </a:solidFill>
          </a:ln>
        </p:spPr>
        <p:txBody>
          <a:bodyPr wrap="square" rtlCol="0">
            <a:spAutoFit/>
          </a:bodyPr>
          <a:lstStyle/>
          <a:p>
            <a:pPr algn="ctr"/>
            <a:r>
              <a:rPr lang="en-US"/>
              <a:t>PVB QI Team Members</a:t>
            </a:r>
          </a:p>
        </p:txBody>
      </p:sp>
      <p:sp>
        <p:nvSpPr>
          <p:cNvPr id="10" name="TextBox 9"/>
          <p:cNvSpPr txBox="1"/>
          <p:nvPr/>
        </p:nvSpPr>
        <p:spPr>
          <a:xfrm>
            <a:off x="3782256" y="4085345"/>
            <a:ext cx="1676400" cy="646331"/>
          </a:xfrm>
          <a:prstGeom prst="rect">
            <a:avLst/>
          </a:prstGeom>
          <a:noFill/>
          <a:ln>
            <a:solidFill>
              <a:schemeClr val="tx1"/>
            </a:solidFill>
          </a:ln>
        </p:spPr>
        <p:txBody>
          <a:bodyPr wrap="square" rtlCol="0">
            <a:spAutoFit/>
          </a:bodyPr>
          <a:lstStyle/>
          <a:p>
            <a:pPr algn="ctr"/>
            <a:r>
              <a:rPr lang="en-US"/>
              <a:t>BE QI Team Members</a:t>
            </a:r>
          </a:p>
        </p:txBody>
      </p:sp>
      <p:sp>
        <p:nvSpPr>
          <p:cNvPr id="11" name="TextBox 10"/>
          <p:cNvSpPr txBox="1"/>
          <p:nvPr/>
        </p:nvSpPr>
        <p:spPr>
          <a:xfrm>
            <a:off x="3780818" y="1618495"/>
            <a:ext cx="1676400" cy="646331"/>
          </a:xfrm>
          <a:prstGeom prst="rect">
            <a:avLst/>
          </a:prstGeom>
          <a:noFill/>
          <a:ln>
            <a:solidFill>
              <a:schemeClr val="tx1"/>
            </a:solidFill>
          </a:ln>
        </p:spPr>
        <p:txBody>
          <a:bodyPr wrap="square" rtlCol="0">
            <a:spAutoFit/>
          </a:bodyPr>
          <a:lstStyle/>
          <a:p>
            <a:pPr algn="ctr"/>
            <a:r>
              <a:rPr lang="en-US"/>
              <a:t>Hospital Demographics</a:t>
            </a:r>
          </a:p>
        </p:txBody>
      </p:sp>
      <p:sp>
        <p:nvSpPr>
          <p:cNvPr id="12" name="TextBox 11"/>
          <p:cNvSpPr txBox="1"/>
          <p:nvPr/>
        </p:nvSpPr>
        <p:spPr>
          <a:xfrm>
            <a:off x="6524018" y="974388"/>
            <a:ext cx="1676400" cy="369332"/>
          </a:xfrm>
          <a:prstGeom prst="rect">
            <a:avLst/>
          </a:prstGeom>
          <a:noFill/>
          <a:ln>
            <a:solidFill>
              <a:schemeClr val="tx1"/>
            </a:solidFill>
          </a:ln>
        </p:spPr>
        <p:txBody>
          <a:bodyPr wrap="square" rtlCol="0">
            <a:spAutoFit/>
          </a:bodyPr>
          <a:lstStyle/>
          <a:p>
            <a:pPr algn="ctr"/>
            <a:r>
              <a:rPr lang="en-US"/>
              <a:t>PVB </a:t>
            </a:r>
          </a:p>
        </p:txBody>
      </p:sp>
      <p:sp>
        <p:nvSpPr>
          <p:cNvPr id="15" name="TextBox 14"/>
          <p:cNvSpPr txBox="1"/>
          <p:nvPr/>
        </p:nvSpPr>
        <p:spPr>
          <a:xfrm>
            <a:off x="9405071" y="974388"/>
            <a:ext cx="1676400" cy="369332"/>
          </a:xfrm>
          <a:prstGeom prst="rect">
            <a:avLst/>
          </a:prstGeom>
          <a:noFill/>
          <a:ln>
            <a:solidFill>
              <a:schemeClr val="tx1"/>
            </a:solidFill>
          </a:ln>
        </p:spPr>
        <p:txBody>
          <a:bodyPr wrap="square" rtlCol="0">
            <a:spAutoFit/>
          </a:bodyPr>
          <a:lstStyle/>
          <a:p>
            <a:pPr algn="ctr"/>
            <a:r>
              <a:rPr lang="en-US"/>
              <a:t>Birth Equity</a:t>
            </a:r>
          </a:p>
        </p:txBody>
      </p:sp>
      <p:sp>
        <p:nvSpPr>
          <p:cNvPr id="16" name="TextBox 15"/>
          <p:cNvSpPr txBox="1"/>
          <p:nvPr/>
        </p:nvSpPr>
        <p:spPr>
          <a:xfrm>
            <a:off x="6492157" y="1745982"/>
            <a:ext cx="1676400" cy="923330"/>
          </a:xfrm>
          <a:prstGeom prst="rect">
            <a:avLst/>
          </a:prstGeom>
          <a:noFill/>
          <a:ln>
            <a:solidFill>
              <a:schemeClr val="tx1"/>
            </a:solidFill>
          </a:ln>
        </p:spPr>
        <p:txBody>
          <a:bodyPr wrap="square" rtlCol="0">
            <a:spAutoFit/>
          </a:bodyPr>
          <a:lstStyle/>
          <a:p>
            <a:pPr algn="ctr"/>
            <a:r>
              <a:rPr lang="en-US"/>
              <a:t>PVB Success</a:t>
            </a:r>
          </a:p>
          <a:p>
            <a:pPr algn="ctr"/>
            <a:endParaRPr lang="en-US"/>
          </a:p>
          <a:p>
            <a:pPr algn="ctr"/>
            <a:r>
              <a:rPr lang="en-US"/>
              <a:t>Including Data</a:t>
            </a:r>
          </a:p>
        </p:txBody>
      </p:sp>
      <p:sp>
        <p:nvSpPr>
          <p:cNvPr id="17" name="TextBox 16"/>
          <p:cNvSpPr txBox="1"/>
          <p:nvPr/>
        </p:nvSpPr>
        <p:spPr>
          <a:xfrm>
            <a:off x="6480886" y="3156493"/>
            <a:ext cx="1676400" cy="923330"/>
          </a:xfrm>
          <a:prstGeom prst="rect">
            <a:avLst/>
          </a:prstGeom>
          <a:noFill/>
          <a:ln>
            <a:solidFill>
              <a:schemeClr val="tx1"/>
            </a:solidFill>
          </a:ln>
        </p:spPr>
        <p:txBody>
          <a:bodyPr wrap="square" rtlCol="0">
            <a:spAutoFit/>
          </a:bodyPr>
          <a:lstStyle/>
          <a:p>
            <a:pPr algn="ctr"/>
            <a:r>
              <a:rPr lang="en-US"/>
              <a:t>PVB Barriers and plans to address</a:t>
            </a:r>
          </a:p>
        </p:txBody>
      </p:sp>
      <p:sp>
        <p:nvSpPr>
          <p:cNvPr id="18" name="TextBox 17"/>
          <p:cNvSpPr txBox="1"/>
          <p:nvPr/>
        </p:nvSpPr>
        <p:spPr>
          <a:xfrm>
            <a:off x="6520912" y="4547033"/>
            <a:ext cx="1676400" cy="369332"/>
          </a:xfrm>
          <a:prstGeom prst="rect">
            <a:avLst/>
          </a:prstGeom>
          <a:noFill/>
          <a:ln>
            <a:solidFill>
              <a:schemeClr val="tx1"/>
            </a:solidFill>
          </a:ln>
        </p:spPr>
        <p:txBody>
          <a:bodyPr wrap="square" rtlCol="0">
            <a:spAutoFit/>
          </a:bodyPr>
          <a:lstStyle/>
          <a:p>
            <a:pPr algn="ctr"/>
            <a:r>
              <a:rPr lang="en-US"/>
              <a:t>PVB Next Steps</a:t>
            </a:r>
          </a:p>
        </p:txBody>
      </p:sp>
      <p:sp>
        <p:nvSpPr>
          <p:cNvPr id="21" name="TextBox 20"/>
          <p:cNvSpPr txBox="1"/>
          <p:nvPr/>
        </p:nvSpPr>
        <p:spPr>
          <a:xfrm>
            <a:off x="9261298" y="1803491"/>
            <a:ext cx="1828800" cy="923330"/>
          </a:xfrm>
          <a:prstGeom prst="rect">
            <a:avLst/>
          </a:prstGeom>
          <a:noFill/>
          <a:ln>
            <a:solidFill>
              <a:schemeClr val="tx1"/>
            </a:solidFill>
          </a:ln>
        </p:spPr>
        <p:txBody>
          <a:bodyPr wrap="square" rtlCol="0">
            <a:spAutoFit/>
          </a:bodyPr>
          <a:lstStyle/>
          <a:p>
            <a:pPr algn="ctr"/>
            <a:r>
              <a:rPr lang="en-US"/>
              <a:t>BE Success</a:t>
            </a:r>
          </a:p>
          <a:p>
            <a:pPr algn="ctr"/>
            <a:endParaRPr lang="en-US"/>
          </a:p>
          <a:p>
            <a:pPr algn="ctr"/>
            <a:r>
              <a:rPr lang="en-US"/>
              <a:t>Including Data</a:t>
            </a:r>
          </a:p>
        </p:txBody>
      </p:sp>
      <p:sp>
        <p:nvSpPr>
          <p:cNvPr id="23" name="TextBox 22"/>
          <p:cNvSpPr txBox="1"/>
          <p:nvPr/>
        </p:nvSpPr>
        <p:spPr>
          <a:xfrm>
            <a:off x="9409384" y="3433187"/>
            <a:ext cx="1676400" cy="923330"/>
          </a:xfrm>
          <a:prstGeom prst="rect">
            <a:avLst/>
          </a:prstGeom>
          <a:noFill/>
          <a:ln>
            <a:solidFill>
              <a:schemeClr val="tx1"/>
            </a:solidFill>
          </a:ln>
        </p:spPr>
        <p:txBody>
          <a:bodyPr wrap="square" rtlCol="0">
            <a:spAutoFit/>
          </a:bodyPr>
          <a:lstStyle/>
          <a:p>
            <a:pPr algn="ctr"/>
            <a:r>
              <a:rPr lang="en-US"/>
              <a:t>BE Barriers and plans to address</a:t>
            </a:r>
          </a:p>
        </p:txBody>
      </p:sp>
      <p:sp>
        <p:nvSpPr>
          <p:cNvPr id="24" name="TextBox 23"/>
          <p:cNvSpPr txBox="1"/>
          <p:nvPr/>
        </p:nvSpPr>
        <p:spPr>
          <a:xfrm>
            <a:off x="9337498" y="4920844"/>
            <a:ext cx="1676400" cy="369332"/>
          </a:xfrm>
          <a:prstGeom prst="rect">
            <a:avLst/>
          </a:prstGeom>
          <a:noFill/>
          <a:ln>
            <a:solidFill>
              <a:schemeClr val="tx1"/>
            </a:solidFill>
          </a:ln>
        </p:spPr>
        <p:txBody>
          <a:bodyPr wrap="square" rtlCol="0">
            <a:spAutoFit/>
          </a:bodyPr>
          <a:lstStyle/>
          <a:p>
            <a:pPr algn="ctr"/>
            <a:r>
              <a:rPr lang="en-US"/>
              <a:t>BE Next Steps</a:t>
            </a:r>
          </a:p>
        </p:txBody>
      </p:sp>
      <p:sp>
        <p:nvSpPr>
          <p:cNvPr id="25" name="Title 1">
            <a:extLst>
              <a:ext uri="{FF2B5EF4-FFF2-40B4-BE49-F238E27FC236}">
                <a16:creationId xmlns:a16="http://schemas.microsoft.com/office/drawing/2014/main" id="{4454D9D2-FD51-4B03-BD7A-F1350B0E301B}"/>
              </a:ext>
            </a:extLst>
          </p:cNvPr>
          <p:cNvSpPr txBox="1">
            <a:spLocks/>
          </p:cNvSpPr>
          <p:nvPr/>
        </p:nvSpPr>
        <p:spPr>
          <a:xfrm>
            <a:off x="188253" y="1083367"/>
            <a:ext cx="2744638" cy="1325563"/>
          </a:xfrm>
          <a:prstGeom prst="rect">
            <a:avLst/>
          </a:prstGeom>
        </p:spPr>
        <p:txBody>
          <a:bodyPr lIns="91440" tIns="45720" rIns="91440" bIns="45720" anchor="t"/>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ea typeface="Lato Medium"/>
                <a:cs typeface="Lato Medium"/>
              </a:rPr>
              <a:t>OB Story Board Template</a:t>
            </a:r>
          </a:p>
        </p:txBody>
      </p:sp>
      <p:sp>
        <p:nvSpPr>
          <p:cNvPr id="3" name="TextBox 2">
            <a:extLst>
              <a:ext uri="{FF2B5EF4-FFF2-40B4-BE49-F238E27FC236}">
                <a16:creationId xmlns:a16="http://schemas.microsoft.com/office/drawing/2014/main" id="{AF36BC8E-702E-A15C-E784-2FBE5A26883C}"/>
              </a:ext>
            </a:extLst>
          </p:cNvPr>
          <p:cNvSpPr txBox="1"/>
          <p:nvPr/>
        </p:nvSpPr>
        <p:spPr>
          <a:xfrm>
            <a:off x="3839764" y="5206778"/>
            <a:ext cx="1676400" cy="646331"/>
          </a:xfrm>
          <a:prstGeom prst="rect">
            <a:avLst/>
          </a:prstGeom>
          <a:noFill/>
          <a:ln>
            <a:solidFill>
              <a:schemeClr val="tx1"/>
            </a:solidFill>
          </a:ln>
        </p:spPr>
        <p:txBody>
          <a:bodyPr wrap="square" lIns="91440" tIns="45720" rIns="91440" bIns="45720" rtlCol="0" anchor="t">
            <a:spAutoFit/>
          </a:bodyPr>
          <a:lstStyle/>
          <a:p>
            <a:pPr algn="ctr"/>
            <a:r>
              <a:rPr lang="en-US" dirty="0"/>
              <a:t>MNO-OB QI Team Members</a:t>
            </a:r>
          </a:p>
        </p:txBody>
      </p:sp>
      <p:sp>
        <p:nvSpPr>
          <p:cNvPr id="5" name="TextBox 4">
            <a:extLst>
              <a:ext uri="{FF2B5EF4-FFF2-40B4-BE49-F238E27FC236}">
                <a16:creationId xmlns:a16="http://schemas.microsoft.com/office/drawing/2014/main" id="{E4FF8ECB-EAD6-BD1D-3C81-E8904924B746}"/>
              </a:ext>
            </a:extLst>
          </p:cNvPr>
          <p:cNvSpPr txBox="1"/>
          <p:nvPr/>
        </p:nvSpPr>
        <p:spPr>
          <a:xfrm>
            <a:off x="6524017" y="5212455"/>
            <a:ext cx="1676400" cy="646331"/>
          </a:xfrm>
          <a:prstGeom prst="rect">
            <a:avLst/>
          </a:prstGeom>
          <a:noFill/>
          <a:ln>
            <a:solidFill>
              <a:schemeClr val="tx1"/>
            </a:solidFill>
          </a:ln>
        </p:spPr>
        <p:txBody>
          <a:bodyPr wrap="square" lIns="91440" tIns="45720" rIns="91440" bIns="45720" rtlCol="0" anchor="t">
            <a:spAutoFit/>
          </a:bodyPr>
          <a:lstStyle/>
          <a:p>
            <a:pPr algn="ctr"/>
            <a:r>
              <a:rPr lang="en-US" dirty="0"/>
              <a:t>MNO-OB Sustainability</a:t>
            </a:r>
            <a:endParaRPr lang="en-US" dirty="0">
              <a:cs typeface="Calibri"/>
            </a:endParaRPr>
          </a:p>
        </p:txBody>
      </p:sp>
    </p:spTree>
    <p:extLst>
      <p:ext uri="{BB962C8B-B14F-4D97-AF65-F5344CB8AC3E}">
        <p14:creationId xmlns:p14="http://schemas.microsoft.com/office/powerpoint/2010/main" val="11068907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angle 21">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4AC281-CA87-853D-4FC8-5639B2C1335A}"/>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ea typeface="Lato Medium"/>
                <a:cs typeface="Lato Medium"/>
              </a:rPr>
              <a:t>BE Award Criteria for F2F</a:t>
            </a:r>
            <a:endParaRPr lang="en-US" sz="4000">
              <a:solidFill>
                <a:srgbClr val="FFFFFF"/>
              </a:solidFill>
            </a:endParaRPr>
          </a:p>
        </p:txBody>
      </p:sp>
      <p:sp>
        <p:nvSpPr>
          <p:cNvPr id="5" name="Footer Placeholder 4">
            <a:extLst>
              <a:ext uri="{FF2B5EF4-FFF2-40B4-BE49-F238E27FC236}">
                <a16:creationId xmlns:a16="http://schemas.microsoft.com/office/drawing/2014/main" id="{3D27CF0A-3349-0945-96FF-6CFA37136277}"/>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3" name="Content Placeholder 2">
            <a:extLst>
              <a:ext uri="{FF2B5EF4-FFF2-40B4-BE49-F238E27FC236}">
                <a16:creationId xmlns:a16="http://schemas.microsoft.com/office/drawing/2014/main" id="{9D02D0C9-6DB5-B221-5C2E-436297035EBE}"/>
              </a:ext>
            </a:extLst>
          </p:cNvPr>
          <p:cNvSpPr>
            <a:spLocks noGrp="1"/>
          </p:cNvSpPr>
          <p:nvPr>
            <p:ph idx="1"/>
          </p:nvPr>
        </p:nvSpPr>
        <p:spPr>
          <a:xfrm>
            <a:off x="4810259" y="649480"/>
            <a:ext cx="6555347" cy="5546047"/>
          </a:xfrm>
        </p:spPr>
        <p:txBody>
          <a:bodyPr vert="horz" lIns="91440" tIns="45720" rIns="91440" bIns="45720" rtlCol="0" anchor="ctr">
            <a:noAutofit/>
          </a:bodyPr>
          <a:lstStyle/>
          <a:p>
            <a:pPr>
              <a:lnSpc>
                <a:spcPct val="90000"/>
              </a:lnSpc>
            </a:pPr>
            <a:r>
              <a:rPr lang="en-US" sz="2800" b="1">
                <a:latin typeface="Calibri"/>
                <a:ea typeface="Lato"/>
                <a:cs typeface="Lato"/>
              </a:rPr>
              <a:t>QI Leader Award</a:t>
            </a:r>
          </a:p>
          <a:p>
            <a:pPr lvl="1">
              <a:lnSpc>
                <a:spcPct val="90000"/>
              </a:lnSpc>
            </a:pPr>
            <a:r>
              <a:rPr lang="en-US">
                <a:ea typeface="Lato"/>
                <a:cs typeface="Calibri"/>
              </a:rPr>
              <a:t>All data submitted </a:t>
            </a:r>
            <a:r>
              <a:rPr lang="en-US" b="1">
                <a:ea typeface="Lato"/>
                <a:cs typeface="Calibri"/>
              </a:rPr>
              <a:t>through March</a:t>
            </a:r>
            <a:r>
              <a:rPr lang="en-US">
                <a:ea typeface="Lato"/>
                <a:cs typeface="Calibri"/>
              </a:rPr>
              <a:t> </a:t>
            </a:r>
            <a:r>
              <a:rPr lang="en-US" b="1">
                <a:ea typeface="Lato"/>
                <a:cs typeface="Calibri"/>
              </a:rPr>
              <a:t>by April 21, 2023</a:t>
            </a:r>
            <a:endParaRPr lang="en-US">
              <a:ea typeface="Lato"/>
              <a:cs typeface="+mn-lt"/>
            </a:endParaRPr>
          </a:p>
          <a:p>
            <a:pPr lvl="1">
              <a:lnSpc>
                <a:spcPct val="90000"/>
              </a:lnSpc>
            </a:pPr>
            <a:r>
              <a:rPr lang="en-US" b="1">
                <a:ea typeface="Lato"/>
                <a:cs typeface="Calibri"/>
              </a:rPr>
              <a:t>5 of 7</a:t>
            </a:r>
            <a:r>
              <a:rPr lang="en-US">
                <a:ea typeface="Lato"/>
                <a:cs typeface="Calibri"/>
              </a:rPr>
              <a:t> structure measures </a:t>
            </a:r>
            <a:r>
              <a:rPr lang="en-US" b="1">
                <a:ea typeface="Lato"/>
                <a:cs typeface="Calibri"/>
              </a:rPr>
              <a:t>In Place / Green</a:t>
            </a:r>
            <a:endParaRPr lang="en-US">
              <a:ea typeface="Lato"/>
              <a:cs typeface="+mn-lt"/>
            </a:endParaRPr>
          </a:p>
          <a:p>
            <a:pPr lvl="1">
              <a:lnSpc>
                <a:spcPct val="90000"/>
              </a:lnSpc>
            </a:pPr>
            <a:r>
              <a:rPr lang="en-US">
                <a:ea typeface="Lato"/>
                <a:cs typeface="Calibri"/>
              </a:rPr>
              <a:t>Achieving goal for</a:t>
            </a:r>
            <a:r>
              <a:rPr lang="en-US" b="1">
                <a:ea typeface="Lato"/>
                <a:cs typeface="Calibri"/>
              </a:rPr>
              <a:t> 3 of 6 </a:t>
            </a:r>
            <a:r>
              <a:rPr lang="en-US">
                <a:ea typeface="Lato"/>
                <a:cs typeface="Calibri"/>
              </a:rPr>
              <a:t>of the following outcome &amp; process measures:</a:t>
            </a:r>
            <a:endParaRPr lang="en-US">
              <a:ea typeface="Lato"/>
              <a:cs typeface="+mn-lt"/>
            </a:endParaRPr>
          </a:p>
          <a:p>
            <a:pPr lvl="2">
              <a:spcAft>
                <a:spcPts val="0"/>
              </a:spcAft>
              <a:buClr>
                <a:srgbClr val="F5668F"/>
              </a:buClr>
            </a:pPr>
            <a:r>
              <a:rPr lang="en-US" sz="2000">
                <a:ea typeface="Lato"/>
                <a:cs typeface="Calibri"/>
              </a:rPr>
              <a:t>Provider, Nurse, &amp; Other Staff Bias education – 75%</a:t>
            </a:r>
            <a:endParaRPr lang="en-US" sz="2000">
              <a:ea typeface="+mn-lt"/>
              <a:cs typeface="+mn-lt"/>
            </a:endParaRPr>
          </a:p>
          <a:p>
            <a:pPr lvl="2">
              <a:lnSpc>
                <a:spcPct val="90000"/>
              </a:lnSpc>
              <a:spcAft>
                <a:spcPts val="0"/>
              </a:spcAft>
              <a:buClr>
                <a:srgbClr val="F5668F"/>
              </a:buClr>
            </a:pPr>
            <a:r>
              <a:rPr lang="en-US" sz="2000">
                <a:ea typeface="Lato"/>
                <a:cs typeface="Calibri"/>
              </a:rPr>
              <a:t>Scheduled early postpartum follow up – 75%</a:t>
            </a:r>
            <a:endParaRPr lang="en-US" sz="2000">
              <a:ea typeface="+mn-lt"/>
              <a:cs typeface="+mn-lt"/>
            </a:endParaRPr>
          </a:p>
          <a:p>
            <a:pPr lvl="2">
              <a:spcAft>
                <a:spcPts val="0"/>
              </a:spcAft>
              <a:buClr>
                <a:srgbClr val="F5668F"/>
              </a:buClr>
            </a:pPr>
            <a:r>
              <a:rPr lang="en-US" sz="2000">
                <a:ea typeface="Lato"/>
                <a:cs typeface="Calibri"/>
              </a:rPr>
              <a:t>Postpartum Safety Patient education  - 75% </a:t>
            </a:r>
            <a:endParaRPr lang="en-US" sz="2000">
              <a:ea typeface="+mn-lt"/>
              <a:cs typeface="+mn-lt"/>
            </a:endParaRPr>
          </a:p>
          <a:p>
            <a:pPr lvl="2">
              <a:spcAft>
                <a:spcPts val="0"/>
              </a:spcAft>
              <a:buClr>
                <a:srgbClr val="F5668F"/>
              </a:buClr>
            </a:pPr>
            <a:r>
              <a:rPr lang="en-US" sz="2000" err="1">
                <a:ea typeface="Lato"/>
                <a:cs typeface="Calibri"/>
              </a:rPr>
              <a:t>SDoH</a:t>
            </a:r>
            <a:r>
              <a:rPr lang="en-US" sz="2000">
                <a:ea typeface="Lato"/>
                <a:cs typeface="Calibri"/>
              </a:rPr>
              <a:t> delivery admission screening – 75%</a:t>
            </a:r>
            <a:endParaRPr lang="en-US" sz="2000">
              <a:ea typeface="+mn-lt"/>
              <a:cs typeface="+mn-lt"/>
            </a:endParaRPr>
          </a:p>
          <a:p>
            <a:pPr lvl="2">
              <a:spcAft>
                <a:spcPts val="0"/>
              </a:spcAft>
              <a:buClr>
                <a:srgbClr val="F5668F"/>
              </a:buClr>
            </a:pPr>
            <a:r>
              <a:rPr lang="en-US" sz="2000" err="1">
                <a:ea typeface="Lato"/>
                <a:cs typeface="Calibri"/>
              </a:rPr>
              <a:t>SDoH</a:t>
            </a:r>
            <a:r>
              <a:rPr lang="en-US" sz="2000">
                <a:ea typeface="Lato"/>
                <a:cs typeface="Calibri"/>
              </a:rPr>
              <a:t> screen positive linked to resources – 75% </a:t>
            </a:r>
          </a:p>
          <a:p>
            <a:pPr lvl="2">
              <a:spcAft>
                <a:spcPts val="0"/>
              </a:spcAft>
              <a:buClr>
                <a:srgbClr val="F5668F"/>
              </a:buClr>
            </a:pPr>
            <a:r>
              <a:rPr lang="en-US" sz="2000">
                <a:ea typeface="Lato"/>
                <a:cs typeface="Calibri"/>
              </a:rPr>
              <a:t>PREM completion rate – 40% </a:t>
            </a:r>
            <a:endParaRPr lang="en-US" sz="2000">
              <a:ea typeface="+mn-lt"/>
              <a:cs typeface="+mn-lt"/>
            </a:endParaRPr>
          </a:p>
          <a:p>
            <a:pPr lvl="2">
              <a:spcAft>
                <a:spcPts val="0"/>
              </a:spcAft>
              <a:buClr>
                <a:srgbClr val="F5668F"/>
              </a:buClr>
            </a:pPr>
            <a:endParaRPr lang="en-US">
              <a:ea typeface="+mn-lt"/>
              <a:cs typeface="+mn-lt"/>
            </a:endParaRPr>
          </a:p>
          <a:p>
            <a:pPr lvl="1">
              <a:lnSpc>
                <a:spcPct val="90000"/>
              </a:lnSpc>
              <a:buClr>
                <a:srgbClr val="1C498B"/>
              </a:buClr>
            </a:pPr>
            <a:endParaRPr lang="en-US" sz="2000"/>
          </a:p>
        </p:txBody>
      </p:sp>
      <p:sp>
        <p:nvSpPr>
          <p:cNvPr id="4" name="Slide Number Placeholder 3">
            <a:extLst>
              <a:ext uri="{FF2B5EF4-FFF2-40B4-BE49-F238E27FC236}">
                <a16:creationId xmlns:a16="http://schemas.microsoft.com/office/drawing/2014/main" id="{6D1166E2-67F5-DC59-F4A2-6BDD748915F4}"/>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11</a:t>
            </a:fld>
            <a:endParaRPr lang="en-US" sz="1100">
              <a:solidFill>
                <a:schemeClr val="tx1">
                  <a:lumMod val="50000"/>
                  <a:lumOff val="50000"/>
                </a:schemeClr>
              </a:solidFill>
            </a:endParaRPr>
          </a:p>
        </p:txBody>
      </p:sp>
    </p:spTree>
    <p:extLst>
      <p:ext uri="{BB962C8B-B14F-4D97-AF65-F5344CB8AC3E}">
        <p14:creationId xmlns:p14="http://schemas.microsoft.com/office/powerpoint/2010/main" val="27879389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7E3-962E-4716-AD19-E786DA13D190}"/>
              </a:ext>
            </a:extLst>
          </p:cNvPr>
          <p:cNvSpPr>
            <a:spLocks noGrp="1"/>
          </p:cNvSpPr>
          <p:nvPr>
            <p:ph type="title"/>
          </p:nvPr>
        </p:nvSpPr>
        <p:spPr>
          <a:xfrm>
            <a:off x="609600" y="365125"/>
            <a:ext cx="8435009" cy="1325563"/>
          </a:xfrm>
        </p:spPr>
        <p:txBody>
          <a:bodyPr/>
          <a:lstStyle/>
          <a:p>
            <a:r>
              <a:rPr lang="en-US"/>
              <a:t>Goal for every team to achieve BE QI Excellence by end of 2023</a:t>
            </a:r>
          </a:p>
        </p:txBody>
      </p:sp>
      <p:sp>
        <p:nvSpPr>
          <p:cNvPr id="3" name="Content Placeholder 2">
            <a:extLst>
              <a:ext uri="{FF2B5EF4-FFF2-40B4-BE49-F238E27FC236}">
                <a16:creationId xmlns:a16="http://schemas.microsoft.com/office/drawing/2014/main" id="{D7747CCD-1009-432B-9413-6BB60FF95FB8}"/>
              </a:ext>
            </a:extLst>
          </p:cNvPr>
          <p:cNvSpPr>
            <a:spLocks noGrp="1"/>
          </p:cNvSpPr>
          <p:nvPr>
            <p:ph idx="1"/>
          </p:nvPr>
        </p:nvSpPr>
        <p:spPr/>
        <p:txBody>
          <a:bodyPr vert="horz" lIns="91440" tIns="45720" rIns="91440" bIns="45720" rtlCol="0" anchor="t">
            <a:noAutofit/>
          </a:bodyPr>
          <a:lstStyle/>
          <a:p>
            <a:r>
              <a:rPr lang="en-US" dirty="0">
                <a:ea typeface="Lato"/>
                <a:cs typeface="Lato"/>
              </a:rPr>
              <a:t>Submit all of your BE data through March </a:t>
            </a:r>
            <a:r>
              <a:rPr lang="en-US" b="1" u="sng" dirty="0">
                <a:ea typeface="Lato"/>
                <a:cs typeface="Lato"/>
              </a:rPr>
              <a:t>by April 21st</a:t>
            </a:r>
          </a:p>
          <a:p>
            <a:r>
              <a:rPr lang="en-US" dirty="0">
                <a:ea typeface="Lato"/>
                <a:cs typeface="Lato"/>
              </a:rPr>
              <a:t>Move your structure measures to green / in place</a:t>
            </a:r>
          </a:p>
          <a:p>
            <a:r>
              <a:rPr lang="en-US" dirty="0">
                <a:ea typeface="Lato"/>
                <a:cs typeface="Lato"/>
              </a:rPr>
              <a:t>Move your process/outcome measures to goal</a:t>
            </a:r>
          </a:p>
          <a:p>
            <a:pPr lvl="2">
              <a:spcAft>
                <a:spcPts val="0"/>
              </a:spcAft>
              <a:buClr>
                <a:srgbClr val="F5668F"/>
              </a:buClr>
            </a:pPr>
            <a:r>
              <a:rPr lang="en-US" dirty="0">
                <a:ea typeface="Lato"/>
                <a:cs typeface="Calibri"/>
              </a:rPr>
              <a:t>Provider, Nurse, &amp; Other Staff Bias education – 75%</a:t>
            </a:r>
            <a:endParaRPr lang="en-US" dirty="0">
              <a:ea typeface="+mn-lt"/>
              <a:cs typeface="+mn-lt"/>
            </a:endParaRPr>
          </a:p>
          <a:p>
            <a:pPr lvl="2">
              <a:lnSpc>
                <a:spcPct val="90000"/>
              </a:lnSpc>
              <a:spcAft>
                <a:spcPts val="0"/>
              </a:spcAft>
              <a:buClr>
                <a:srgbClr val="F5668F"/>
              </a:buClr>
            </a:pPr>
            <a:r>
              <a:rPr lang="en-US" dirty="0">
                <a:ea typeface="Lato"/>
                <a:cs typeface="Calibri"/>
              </a:rPr>
              <a:t>Scheduled early postpartum follow up before discharge – 75%</a:t>
            </a:r>
            <a:endParaRPr lang="en-US" dirty="0">
              <a:ea typeface="+mn-lt"/>
              <a:cs typeface="+mn-lt"/>
            </a:endParaRPr>
          </a:p>
          <a:p>
            <a:pPr lvl="2">
              <a:spcAft>
                <a:spcPts val="0"/>
              </a:spcAft>
              <a:buClr>
                <a:srgbClr val="F5668F"/>
              </a:buClr>
            </a:pPr>
            <a:r>
              <a:rPr lang="en-US" dirty="0">
                <a:ea typeface="Lato"/>
                <a:cs typeface="Calibri"/>
              </a:rPr>
              <a:t>Postpartum Safety Patient education  - 75% </a:t>
            </a:r>
            <a:endParaRPr lang="en-US" dirty="0">
              <a:ea typeface="+mn-lt"/>
              <a:cs typeface="+mn-lt"/>
            </a:endParaRPr>
          </a:p>
          <a:p>
            <a:pPr lvl="2">
              <a:spcAft>
                <a:spcPts val="0"/>
              </a:spcAft>
              <a:buClr>
                <a:srgbClr val="F5668F"/>
              </a:buClr>
            </a:pPr>
            <a:r>
              <a:rPr lang="en-US" dirty="0" err="1">
                <a:ea typeface="Lato"/>
                <a:cs typeface="Calibri"/>
              </a:rPr>
              <a:t>SDoH</a:t>
            </a:r>
            <a:r>
              <a:rPr lang="en-US" dirty="0">
                <a:ea typeface="Lato"/>
                <a:cs typeface="Calibri"/>
              </a:rPr>
              <a:t> delivery admission screening – 75%</a:t>
            </a:r>
            <a:endParaRPr lang="en-US" dirty="0">
              <a:ea typeface="+mn-lt"/>
              <a:cs typeface="+mn-lt"/>
            </a:endParaRPr>
          </a:p>
          <a:p>
            <a:pPr lvl="2">
              <a:spcAft>
                <a:spcPts val="0"/>
              </a:spcAft>
              <a:buClr>
                <a:srgbClr val="F5668F"/>
              </a:buClr>
            </a:pPr>
            <a:r>
              <a:rPr lang="en-US" dirty="0" err="1">
                <a:ea typeface="Lato"/>
                <a:cs typeface="Calibri"/>
              </a:rPr>
              <a:t>SDoH</a:t>
            </a:r>
            <a:r>
              <a:rPr lang="en-US" dirty="0">
                <a:ea typeface="Lato"/>
                <a:cs typeface="Calibri"/>
              </a:rPr>
              <a:t> screen positive linked to resources – 75% </a:t>
            </a:r>
          </a:p>
          <a:p>
            <a:pPr lvl="2">
              <a:spcAft>
                <a:spcPts val="0"/>
              </a:spcAft>
              <a:buClr>
                <a:srgbClr val="F5668F"/>
              </a:buClr>
            </a:pPr>
            <a:r>
              <a:rPr lang="en-US" dirty="0">
                <a:ea typeface="Lato"/>
                <a:cs typeface="Calibri"/>
              </a:rPr>
              <a:t>PREM completion rate – 40%</a:t>
            </a:r>
          </a:p>
          <a:p>
            <a:r>
              <a:rPr lang="en-US" sz="2800" dirty="0">
                <a:ea typeface="Lato"/>
                <a:cs typeface="Lato"/>
              </a:rPr>
              <a:t>Email ILPQC </a:t>
            </a:r>
            <a:r>
              <a:rPr lang="en-US" sz="2800" dirty="0">
                <a:ea typeface="Lato"/>
                <a:cs typeface="Lato"/>
                <a:hlinkClick r:id="rId2"/>
              </a:rPr>
              <a:t>info@ilpqc.org</a:t>
            </a:r>
            <a:r>
              <a:rPr lang="en-US" sz="2800" dirty="0">
                <a:ea typeface="Lato"/>
                <a:cs typeface="Lato"/>
              </a:rPr>
              <a:t> for help achieving your QI excellence award!</a:t>
            </a:r>
          </a:p>
          <a:p>
            <a:endParaRPr lang="en-US"/>
          </a:p>
        </p:txBody>
      </p:sp>
      <p:sp>
        <p:nvSpPr>
          <p:cNvPr id="4" name="Slide Number Placeholder 3">
            <a:extLst>
              <a:ext uri="{FF2B5EF4-FFF2-40B4-BE49-F238E27FC236}">
                <a16:creationId xmlns:a16="http://schemas.microsoft.com/office/drawing/2014/main" id="{1421D1D3-09DC-4AE7-9229-D459F8BA3753}"/>
              </a:ext>
            </a:extLst>
          </p:cNvPr>
          <p:cNvSpPr>
            <a:spLocks noGrp="1"/>
          </p:cNvSpPr>
          <p:nvPr>
            <p:ph type="sldNum" sz="quarter" idx="10"/>
          </p:nvPr>
        </p:nvSpPr>
        <p:spPr/>
        <p:txBody>
          <a:bodyPr/>
          <a:lstStyle/>
          <a:p>
            <a:fld id="{97033E4B-E3EB-3D46-B2D8-3159663620FA}" type="slidenum">
              <a:rPr lang="en-US" smtClean="0"/>
              <a:pPr/>
              <a:t>12</a:t>
            </a:fld>
            <a:endParaRPr lang="en-US"/>
          </a:p>
        </p:txBody>
      </p:sp>
      <p:sp>
        <p:nvSpPr>
          <p:cNvPr id="5" name="Footer Placeholder 4">
            <a:extLst>
              <a:ext uri="{FF2B5EF4-FFF2-40B4-BE49-F238E27FC236}">
                <a16:creationId xmlns:a16="http://schemas.microsoft.com/office/drawing/2014/main" id="{D6B74B61-FC6E-4123-902A-08860D2ED02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05451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Birth Equity Data Review</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929734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774646-0504-7B93-5FEA-4004F77D1BD6}"/>
              </a:ext>
            </a:extLst>
          </p:cNvPr>
          <p:cNvSpPr>
            <a:spLocks noGrp="1"/>
          </p:cNvSpPr>
          <p:nvPr>
            <p:ph idx="1"/>
          </p:nvPr>
        </p:nvSpPr>
        <p:spPr>
          <a:xfrm>
            <a:off x="221412" y="42387"/>
            <a:ext cx="6880339" cy="857640"/>
          </a:xfrm>
          <a:noFill/>
        </p:spPr>
        <p:txBody>
          <a:bodyPr vert="horz" lIns="91440" tIns="45720" rIns="91440" bIns="45720" rtlCol="0" anchor="t">
            <a:noAutofit/>
          </a:bodyPr>
          <a:lstStyle/>
          <a:p>
            <a:pPr marL="0" indent="0">
              <a:buNone/>
            </a:pPr>
            <a:r>
              <a:rPr lang="en-US" sz="2800" b="1" dirty="0">
                <a:solidFill>
                  <a:schemeClr val="accent1"/>
                </a:solidFill>
                <a:latin typeface="+mj-lt"/>
                <a:ea typeface="Lato"/>
                <a:cs typeface="Lato"/>
              </a:rPr>
              <a:t>BE Aim: By December 2023, ≥75% of participating hospitals will have all key actionable strategies in place</a:t>
            </a:r>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dirty="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Graphic 6" descr="Clipboard Checked with solid fill">
            <a:extLst>
              <a:ext uri="{FF2B5EF4-FFF2-40B4-BE49-F238E27FC236}">
                <a16:creationId xmlns:a16="http://schemas.microsoft.com/office/drawing/2014/main" id="{5264C555-4B46-61FD-2256-BB7DC1C6F59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7855" y="1287359"/>
            <a:ext cx="1323036" cy="1331503"/>
          </a:xfrm>
          <a:prstGeom prst="rect">
            <a:avLst/>
          </a:prstGeom>
        </p:spPr>
      </p:pic>
      <p:pic>
        <p:nvPicPr>
          <p:cNvPr id="8" name="Graphic 8" descr="Comment Heart with solid fill">
            <a:extLst>
              <a:ext uri="{FF2B5EF4-FFF2-40B4-BE49-F238E27FC236}">
                <a16:creationId xmlns:a16="http://schemas.microsoft.com/office/drawing/2014/main" id="{F21F8065-B1B2-7498-A802-AD81E21A48D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678970" y="4209586"/>
            <a:ext cx="1187570" cy="1173192"/>
          </a:xfrm>
          <a:prstGeom prst="rect">
            <a:avLst/>
          </a:prstGeom>
        </p:spPr>
      </p:pic>
      <p:pic>
        <p:nvPicPr>
          <p:cNvPr id="9" name="Graphic 9" descr="Chat bubble with solid fill">
            <a:extLst>
              <a:ext uri="{FF2B5EF4-FFF2-40B4-BE49-F238E27FC236}">
                <a16:creationId xmlns:a16="http://schemas.microsoft.com/office/drawing/2014/main" id="{D8E2CED8-91D7-213D-0F3E-CBBD4E04B795}"/>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696131" y="3853148"/>
            <a:ext cx="1227199" cy="1238671"/>
          </a:xfrm>
          <a:prstGeom prst="rect">
            <a:avLst/>
          </a:prstGeom>
        </p:spPr>
      </p:pic>
      <p:pic>
        <p:nvPicPr>
          <p:cNvPr id="10" name="Graphic 10" descr="Group success outline">
            <a:extLst>
              <a:ext uri="{FF2B5EF4-FFF2-40B4-BE49-F238E27FC236}">
                <a16:creationId xmlns:a16="http://schemas.microsoft.com/office/drawing/2014/main" id="{B2278330-1C43-F44E-C839-70D3EB85D9D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89448" y="3665090"/>
            <a:ext cx="1641415" cy="1643971"/>
          </a:xfrm>
          <a:prstGeom prst="rect">
            <a:avLst/>
          </a:prstGeom>
        </p:spPr>
      </p:pic>
      <p:pic>
        <p:nvPicPr>
          <p:cNvPr id="11" name="Graphic 11" descr="Medical with solid fill">
            <a:extLst>
              <a:ext uri="{FF2B5EF4-FFF2-40B4-BE49-F238E27FC236}">
                <a16:creationId xmlns:a16="http://schemas.microsoft.com/office/drawing/2014/main" id="{20646311-9E47-F7C1-97B6-A728DEC698A0}"/>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668597" y="1190739"/>
            <a:ext cx="1284537" cy="1324315"/>
          </a:xfrm>
          <a:prstGeom prst="rect">
            <a:avLst/>
          </a:prstGeom>
        </p:spPr>
      </p:pic>
      <p:sp>
        <p:nvSpPr>
          <p:cNvPr id="14" name="TextBox 13">
            <a:extLst>
              <a:ext uri="{FF2B5EF4-FFF2-40B4-BE49-F238E27FC236}">
                <a16:creationId xmlns:a16="http://schemas.microsoft.com/office/drawing/2014/main" id="{4F5DD18C-AEEF-A91D-F944-EFB3D51F6676}"/>
              </a:ext>
            </a:extLst>
          </p:cNvPr>
          <p:cNvSpPr txBox="1"/>
          <p:nvPr/>
        </p:nvSpPr>
        <p:spPr>
          <a:xfrm>
            <a:off x="58508" y="2553132"/>
            <a:ext cx="3319194"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kumimoji="0" lang="en-US" sz="2000" b="1" i="0" u="none" strike="noStrike" kern="1200" cap="none" spc="0" normalizeH="0" baseline="0" noProof="0" dirty="0">
                <a:ln>
                  <a:noFill/>
                </a:ln>
                <a:solidFill>
                  <a:srgbClr val="444C55"/>
                </a:solidFill>
                <a:effectLst/>
                <a:uLnTx/>
                <a:uFillTx/>
                <a:latin typeface="Calibri" panose="020F0502020204030204"/>
                <a:ea typeface="+mn-ea"/>
                <a:cs typeface="Calibri"/>
              </a:rPr>
              <a:t>Optimize race and ethnicity data</a:t>
            </a:r>
            <a:r>
              <a:rPr kumimoji="0" lang="en-US" sz="2000" b="0" i="0" u="none" strike="noStrike" kern="1200" cap="none" spc="0" normalizeH="0" baseline="0" noProof="0" dirty="0">
                <a:ln>
                  <a:noFill/>
                </a:ln>
                <a:solidFill>
                  <a:srgbClr val="444C55"/>
                </a:solidFill>
                <a:effectLst/>
                <a:uLnTx/>
                <a:uFillTx/>
                <a:latin typeface="Calibri" panose="020F0502020204030204"/>
                <a:ea typeface="+mn-ea"/>
                <a:cs typeface="Calibri"/>
              </a:rPr>
              <a:t> collection and </a:t>
            </a:r>
            <a:r>
              <a:rPr lang="en-US" sz="2000" dirty="0">
                <a:solidFill>
                  <a:srgbClr val="444C55"/>
                </a:solidFill>
                <a:latin typeface="Calibri" panose="020F0502020204030204"/>
                <a:cs typeface="Calibri"/>
              </a:rPr>
              <a:t>review data stratified by race, ethnicity, and Medicaid status</a:t>
            </a:r>
            <a:endParaRPr kumimoji="0" lang="en-US" sz="2000" b="0" i="0" u="none" strike="noStrike" kern="1200" cap="none" spc="0" normalizeH="0" baseline="0" noProof="0" dirty="0">
              <a:ln>
                <a:noFill/>
              </a:ln>
              <a:solidFill>
                <a:srgbClr val="444C55"/>
              </a:solidFill>
              <a:effectLst/>
              <a:uLnTx/>
              <a:uFillTx/>
              <a:latin typeface="Calibri" panose="020F0502020204030204"/>
              <a:ea typeface="+mn-ea"/>
              <a:cs typeface="Calibri"/>
            </a:endParaRPr>
          </a:p>
        </p:txBody>
      </p:sp>
      <p:sp>
        <p:nvSpPr>
          <p:cNvPr id="15" name="TextBox 14">
            <a:extLst>
              <a:ext uri="{FF2B5EF4-FFF2-40B4-BE49-F238E27FC236}">
                <a16:creationId xmlns:a16="http://schemas.microsoft.com/office/drawing/2014/main" id="{CD007E9D-884C-1223-C8D4-6AB0F1D8DC96}"/>
              </a:ext>
            </a:extLst>
          </p:cNvPr>
          <p:cNvSpPr txBox="1"/>
          <p:nvPr/>
        </p:nvSpPr>
        <p:spPr>
          <a:xfrm>
            <a:off x="3907021" y="2144675"/>
            <a:ext cx="3315237"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kumimoji="0" lang="en-US" sz="2000" b="0" i="0" u="none" strike="noStrike" kern="1200" cap="none" spc="0" normalizeH="0" baseline="0" noProof="0" dirty="0">
                <a:ln>
                  <a:noFill/>
                </a:ln>
                <a:solidFill>
                  <a:srgbClr val="444C55"/>
                </a:solidFill>
                <a:effectLst/>
                <a:uLnTx/>
                <a:uFillTx/>
                <a:latin typeface="Calibri" panose="020F0502020204030204"/>
                <a:ea typeface="+mn-ea"/>
                <a:cs typeface="Calibri"/>
              </a:rPr>
              <a:t>Screen all patients for </a:t>
            </a:r>
            <a:r>
              <a:rPr kumimoji="0" lang="en-US" sz="2000" b="1" i="0" u="none" strike="noStrike" kern="1200" cap="none" spc="0" normalizeH="0" baseline="0" noProof="0" dirty="0">
                <a:ln>
                  <a:noFill/>
                </a:ln>
                <a:solidFill>
                  <a:srgbClr val="444C55"/>
                </a:solidFill>
                <a:effectLst/>
                <a:uLnTx/>
                <a:uFillTx/>
                <a:latin typeface="Calibri" panose="020F0502020204030204"/>
                <a:ea typeface="+mn-ea"/>
                <a:cs typeface="Calibri"/>
              </a:rPr>
              <a:t>social</a:t>
            </a:r>
            <a:r>
              <a:rPr kumimoji="0" lang="en-US" sz="2000" b="1" i="0" u="none" strike="noStrike" kern="1200" cap="none" spc="0" normalizeH="0" baseline="0" noProof="0" dirty="0">
                <a:ln>
                  <a:noFill/>
                </a:ln>
                <a:solidFill>
                  <a:srgbClr val="444C55"/>
                </a:solidFill>
                <a:effectLst/>
                <a:uLnTx/>
                <a:uFillTx/>
                <a:latin typeface="Calibri" panose="020F0502020204030204"/>
                <a:ea typeface="+mn-lt"/>
                <a:cs typeface="Calibri" panose="020F0502020204030204"/>
              </a:rPr>
              <a:t> determinants of health</a:t>
            </a:r>
            <a:r>
              <a:rPr lang="en-US" sz="2000" dirty="0">
                <a:solidFill>
                  <a:srgbClr val="444C55"/>
                </a:solidFill>
                <a:latin typeface="Calibri" panose="020F0502020204030204"/>
                <a:ea typeface="+mn-lt"/>
                <a:cs typeface="Calibri" panose="020F0502020204030204"/>
              </a:rPr>
              <a:t> prenatally and during delivery admission and</a:t>
            </a:r>
            <a:r>
              <a:rPr kumimoji="0" lang="en-US" sz="2000" b="0" i="0" u="none" strike="noStrike" kern="1200" cap="none" spc="0" normalizeH="0" baseline="0" noProof="0" dirty="0">
                <a:ln>
                  <a:noFill/>
                </a:ln>
                <a:solidFill>
                  <a:srgbClr val="444C55"/>
                </a:solidFill>
                <a:effectLst/>
                <a:uLnTx/>
                <a:uFillTx/>
                <a:latin typeface="Calibri" panose="020F0502020204030204"/>
                <a:ea typeface="+mn-lt"/>
                <a:cs typeface="Calibri" panose="020F0502020204030204"/>
              </a:rPr>
              <a:t> link to needed services</a:t>
            </a:r>
            <a:endParaRPr kumimoji="0" lang="en-US" sz="2000" b="0" i="0" u="none" strike="noStrike" kern="1200" cap="none" spc="0" normalizeH="0" baseline="0" noProof="0" dirty="0">
              <a:ln>
                <a:noFill/>
              </a:ln>
              <a:solidFill>
                <a:srgbClr val="444C55"/>
              </a:solidFill>
              <a:effectLst/>
              <a:uLnTx/>
              <a:uFillTx/>
              <a:latin typeface="Calibri" panose="020F0502020204030204"/>
              <a:ea typeface="+mn-ea"/>
              <a:cs typeface="Calibri"/>
            </a:endParaRPr>
          </a:p>
        </p:txBody>
      </p:sp>
      <p:sp>
        <p:nvSpPr>
          <p:cNvPr id="16" name="TextBox 15">
            <a:extLst>
              <a:ext uri="{FF2B5EF4-FFF2-40B4-BE49-F238E27FC236}">
                <a16:creationId xmlns:a16="http://schemas.microsoft.com/office/drawing/2014/main" id="{AEC5972B-AF20-C29A-CE1B-C351309FD7A2}"/>
              </a:ext>
            </a:extLst>
          </p:cNvPr>
          <p:cNvSpPr txBox="1"/>
          <p:nvPr/>
        </p:nvSpPr>
        <p:spPr>
          <a:xfrm>
            <a:off x="7888178" y="5208810"/>
            <a:ext cx="3689049"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Share </a:t>
            </a: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respectful care practices</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and survey patients on their care experience</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panose="020F0502020204030204"/>
            </a:endParaRPr>
          </a:p>
        </p:txBody>
      </p:sp>
      <p:sp>
        <p:nvSpPr>
          <p:cNvPr id="17" name="TextBox 16">
            <a:extLst>
              <a:ext uri="{FF2B5EF4-FFF2-40B4-BE49-F238E27FC236}">
                <a16:creationId xmlns:a16="http://schemas.microsoft.com/office/drawing/2014/main" id="{94EB2478-35E0-6A5E-B79A-A003F9ECC2E1}"/>
              </a:ext>
            </a:extLst>
          </p:cNvPr>
          <p:cNvSpPr txBox="1"/>
          <p:nvPr/>
        </p:nvSpPr>
        <p:spPr>
          <a:xfrm>
            <a:off x="483716" y="5094131"/>
            <a:ext cx="2454055"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kumimoji="0" lang="en-US" sz="2000" b="1" i="0" u="none" strike="noStrike" kern="1200" cap="none" spc="0" normalizeH="0" baseline="0" noProof="0" dirty="0">
                <a:ln>
                  <a:noFill/>
                </a:ln>
                <a:solidFill>
                  <a:srgbClr val="444C55"/>
                </a:solidFill>
                <a:effectLst/>
                <a:uLnTx/>
                <a:uFillTx/>
                <a:latin typeface="Calibri" panose="020F0502020204030204"/>
                <a:ea typeface="+mn-lt"/>
                <a:cs typeface="Calibri" panose="020F0502020204030204"/>
              </a:rPr>
              <a:t>Engage patients and community members</a:t>
            </a:r>
            <a:r>
              <a:rPr kumimoji="0" lang="en-US" sz="2000" b="0" i="0" u="none" strike="noStrike" kern="1200" cap="none" spc="0" normalizeH="0" baseline="0" noProof="0" dirty="0">
                <a:ln>
                  <a:noFill/>
                </a:ln>
                <a:solidFill>
                  <a:srgbClr val="444C55"/>
                </a:solidFill>
                <a:effectLst/>
                <a:uLnTx/>
                <a:uFillTx/>
                <a:latin typeface="Calibri" panose="020F0502020204030204"/>
                <a:ea typeface="+mn-lt"/>
                <a:cs typeface="Calibri" panose="020F0502020204030204"/>
              </a:rPr>
              <a:t> for input</a:t>
            </a:r>
            <a:r>
              <a:rPr lang="en-US" sz="2000" dirty="0">
                <a:solidFill>
                  <a:srgbClr val="444C55"/>
                </a:solidFill>
                <a:latin typeface="Calibri" panose="020F0502020204030204"/>
                <a:ea typeface="+mn-lt"/>
                <a:cs typeface="Calibri" panose="020F0502020204030204"/>
              </a:rPr>
              <a:t> in QI efforts</a:t>
            </a:r>
            <a:endParaRPr kumimoji="0" lang="en-US" sz="2000" b="0" i="0" u="none" strike="noStrike" kern="1200" cap="none" spc="0" normalizeH="0" baseline="0" noProof="0" dirty="0">
              <a:ln>
                <a:noFill/>
              </a:ln>
              <a:solidFill>
                <a:srgbClr val="444C55"/>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18" name="TextBox 17">
            <a:extLst>
              <a:ext uri="{FF2B5EF4-FFF2-40B4-BE49-F238E27FC236}">
                <a16:creationId xmlns:a16="http://schemas.microsoft.com/office/drawing/2014/main" id="{47AB0B86-EBEE-C230-4BDA-88B5732F1224}"/>
              </a:ext>
            </a:extLst>
          </p:cNvPr>
          <p:cNvSpPr txBox="1"/>
          <p:nvPr/>
        </p:nvSpPr>
        <p:spPr>
          <a:xfrm>
            <a:off x="7747474" y="2453030"/>
            <a:ext cx="3128332"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Standardize postpartum safety</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education and schedule early postpartum visit</a:t>
            </a:r>
            <a:endPar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19" name="TextBox 18">
            <a:extLst>
              <a:ext uri="{FF2B5EF4-FFF2-40B4-BE49-F238E27FC236}">
                <a16:creationId xmlns:a16="http://schemas.microsoft.com/office/drawing/2014/main" id="{E41F52BD-C74C-DEEE-C183-1407526ECEBE}"/>
              </a:ext>
            </a:extLst>
          </p:cNvPr>
          <p:cNvSpPr txBox="1"/>
          <p:nvPr/>
        </p:nvSpPr>
        <p:spPr>
          <a:xfrm>
            <a:off x="4037189" y="5308530"/>
            <a:ext cx="322590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Implicit bias, respectful care</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training for providers, nurses, other staff</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panose="020F0502020204030204"/>
            </a:endParaRPr>
          </a:p>
        </p:txBody>
      </p:sp>
      <p:pic>
        <p:nvPicPr>
          <p:cNvPr id="21" name="Graphic 21" descr="Handshake with solid fill">
            <a:extLst>
              <a:ext uri="{FF2B5EF4-FFF2-40B4-BE49-F238E27FC236}">
                <a16:creationId xmlns:a16="http://schemas.microsoft.com/office/drawing/2014/main" id="{FEC17EF0-A364-AF01-13B3-F498D1F994DA}"/>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008369" y="1163754"/>
            <a:ext cx="1280352" cy="1241438"/>
          </a:xfrm>
          <a:prstGeom prst="rect">
            <a:avLst/>
          </a:prstGeom>
        </p:spPr>
      </p:pic>
      <p:pic>
        <p:nvPicPr>
          <p:cNvPr id="22" name="Graphic 22" descr="Cheers with solid fill">
            <a:extLst>
              <a:ext uri="{FF2B5EF4-FFF2-40B4-BE49-F238E27FC236}">
                <a16:creationId xmlns:a16="http://schemas.microsoft.com/office/drawing/2014/main" id="{A6185990-6D95-94BA-599F-7425B56B89D2}"/>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766742" y="3708260"/>
            <a:ext cx="1588985" cy="1539910"/>
          </a:xfrm>
          <a:prstGeom prst="rect">
            <a:avLst/>
          </a:prstGeom>
        </p:spPr>
      </p:pic>
    </p:spTree>
    <p:extLst>
      <p:ext uri="{BB962C8B-B14F-4D97-AF65-F5344CB8AC3E}">
        <p14:creationId xmlns:p14="http://schemas.microsoft.com/office/powerpoint/2010/main" val="30747150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C45D326-A9A4-8362-0541-6821A9F4E461}"/>
              </a:ext>
            </a:extLst>
          </p:cNvPr>
          <p:cNvSpPr txBox="1"/>
          <p:nvPr/>
        </p:nvSpPr>
        <p:spPr>
          <a:xfrm>
            <a:off x="656166" y="5566832"/>
            <a:ext cx="5270500" cy="80433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1" name="TextBox 10">
            <a:extLst>
              <a:ext uri="{FF2B5EF4-FFF2-40B4-BE49-F238E27FC236}">
                <a16:creationId xmlns:a16="http://schemas.microsoft.com/office/drawing/2014/main" id="{7A76B2F3-8F0A-482B-BE58-8837ED312EBC}"/>
              </a:ext>
            </a:extLst>
          </p:cNvPr>
          <p:cNvSpPr txBox="1"/>
          <p:nvPr/>
        </p:nvSpPr>
        <p:spPr>
          <a:xfrm>
            <a:off x="471184" y="1639309"/>
            <a:ext cx="5638800" cy="406266"/>
          </a:xfrm>
          <a:prstGeom prst="rect">
            <a:avLst/>
          </a:prstGeom>
          <a:noFill/>
        </p:spPr>
        <p:txBody>
          <a:bodyPr wrap="square" rtlCol="0">
            <a:spAutoFit/>
          </a:bodyPr>
          <a:lstStyle/>
          <a:p>
            <a:pPr algn="ctr"/>
            <a:r>
              <a:rPr lang="en-US"/>
              <a:t>SDOH Screening</a:t>
            </a:r>
          </a:p>
        </p:txBody>
      </p:sp>
      <p:sp>
        <p:nvSpPr>
          <p:cNvPr id="14" name="TextBox 13">
            <a:extLst>
              <a:ext uri="{FF2B5EF4-FFF2-40B4-BE49-F238E27FC236}">
                <a16:creationId xmlns:a16="http://schemas.microsoft.com/office/drawing/2014/main" id="{270E1FC9-7B2B-4BD5-8703-283D59388063}"/>
              </a:ext>
            </a:extLst>
          </p:cNvPr>
          <p:cNvSpPr txBox="1"/>
          <p:nvPr/>
        </p:nvSpPr>
        <p:spPr>
          <a:xfrm>
            <a:off x="6167430" y="1639309"/>
            <a:ext cx="5638800" cy="406266"/>
          </a:xfrm>
          <a:prstGeom prst="rect">
            <a:avLst/>
          </a:prstGeom>
          <a:noFill/>
        </p:spPr>
        <p:txBody>
          <a:bodyPr wrap="square" rtlCol="0">
            <a:spAutoFit/>
          </a:bodyPr>
          <a:lstStyle/>
          <a:p>
            <a:pPr algn="ctr"/>
            <a:r>
              <a:rPr lang="en-US"/>
              <a:t>Linkage to Community Resources</a:t>
            </a:r>
          </a:p>
        </p:txBody>
      </p:sp>
      <p:sp>
        <p:nvSpPr>
          <p:cNvPr id="2" name="TextBox 1">
            <a:extLst>
              <a:ext uri="{FF2B5EF4-FFF2-40B4-BE49-F238E27FC236}">
                <a16:creationId xmlns:a16="http://schemas.microsoft.com/office/drawing/2014/main" id="{8F6DFEC0-8D4D-2584-DB64-5E642DC1047C}"/>
              </a:ext>
            </a:extLst>
          </p:cNvPr>
          <p:cNvSpPr txBox="1"/>
          <p:nvPr/>
        </p:nvSpPr>
        <p:spPr>
          <a:xfrm>
            <a:off x="5634947" y="3139243"/>
            <a:ext cx="642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dirty="0">
                <a:cs typeface="Calibri"/>
              </a:rPr>
              <a:t>88%</a:t>
            </a:r>
          </a:p>
        </p:txBody>
      </p:sp>
      <p:sp>
        <p:nvSpPr>
          <p:cNvPr id="6" name="TextBox 5">
            <a:extLst>
              <a:ext uri="{FF2B5EF4-FFF2-40B4-BE49-F238E27FC236}">
                <a16:creationId xmlns:a16="http://schemas.microsoft.com/office/drawing/2014/main" id="{9AB7F855-E95F-0138-1B8F-A8A476CBF3B3}"/>
              </a:ext>
            </a:extLst>
          </p:cNvPr>
          <p:cNvSpPr txBox="1"/>
          <p:nvPr/>
        </p:nvSpPr>
        <p:spPr>
          <a:xfrm>
            <a:off x="11447421" y="3033701"/>
            <a:ext cx="5861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dirty="0">
                <a:cs typeface="Calibri"/>
              </a:rPr>
              <a:t>55%</a:t>
            </a:r>
          </a:p>
        </p:txBody>
      </p:sp>
      <p:sp>
        <p:nvSpPr>
          <p:cNvPr id="9" name="TextBox 8">
            <a:extLst>
              <a:ext uri="{FF2B5EF4-FFF2-40B4-BE49-F238E27FC236}">
                <a16:creationId xmlns:a16="http://schemas.microsoft.com/office/drawing/2014/main" id="{C40D3AB7-1D59-20CF-E455-9896C90FF243}"/>
              </a:ext>
            </a:extLst>
          </p:cNvPr>
          <p:cNvSpPr txBox="1"/>
          <p:nvPr/>
        </p:nvSpPr>
        <p:spPr>
          <a:xfrm>
            <a:off x="506917" y="3159563"/>
            <a:ext cx="642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17%</a:t>
            </a:r>
          </a:p>
        </p:txBody>
      </p:sp>
      <p:sp>
        <p:nvSpPr>
          <p:cNvPr id="12" name="TextBox 11">
            <a:extLst>
              <a:ext uri="{FF2B5EF4-FFF2-40B4-BE49-F238E27FC236}">
                <a16:creationId xmlns:a16="http://schemas.microsoft.com/office/drawing/2014/main" id="{5D9299F1-C6BE-B095-C5EE-161C6B3295F5}"/>
              </a:ext>
            </a:extLst>
          </p:cNvPr>
          <p:cNvSpPr txBox="1"/>
          <p:nvPr/>
        </p:nvSpPr>
        <p:spPr>
          <a:xfrm>
            <a:off x="6529057" y="3033701"/>
            <a:ext cx="5861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3%</a:t>
            </a:r>
          </a:p>
        </p:txBody>
      </p:sp>
      <p:graphicFrame>
        <p:nvGraphicFramePr>
          <p:cNvPr id="13" name="Chart 12">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0522029"/>
              </p:ext>
            </p:extLst>
          </p:nvPr>
        </p:nvGraphicFramePr>
        <p:xfrm>
          <a:off x="2223" y="2339340"/>
          <a:ext cx="6330315" cy="4114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226278913"/>
              </p:ext>
            </p:extLst>
          </p:nvPr>
        </p:nvGraphicFramePr>
        <p:xfrm>
          <a:off x="6095047" y="2267585"/>
          <a:ext cx="5999480" cy="407797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14989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07AC2B7D-891A-4961-B16E-77A561015C66}"/>
              </a:ext>
            </a:extLst>
          </p:cNvPr>
          <p:cNvSpPr txBox="1"/>
          <p:nvPr/>
        </p:nvSpPr>
        <p:spPr>
          <a:xfrm>
            <a:off x="220305" y="1508501"/>
            <a:ext cx="5638800" cy="369332"/>
          </a:xfrm>
          <a:prstGeom prst="rect">
            <a:avLst/>
          </a:prstGeom>
          <a:noFill/>
        </p:spPr>
        <p:txBody>
          <a:bodyPr wrap="square" lIns="91440" tIns="45720" rIns="91440" bIns="45720" rtlCol="0" anchor="t">
            <a:spAutoFit/>
          </a:bodyPr>
          <a:lstStyle/>
          <a:p>
            <a:pPr algn="ctr"/>
            <a:r>
              <a:rPr lang="en-US" dirty="0"/>
              <a:t>Stratify Maternal Health QI Data</a:t>
            </a:r>
          </a:p>
        </p:txBody>
      </p:sp>
      <p:sp>
        <p:nvSpPr>
          <p:cNvPr id="12" name="TextBox 11">
            <a:extLst>
              <a:ext uri="{FF2B5EF4-FFF2-40B4-BE49-F238E27FC236}">
                <a16:creationId xmlns:a16="http://schemas.microsoft.com/office/drawing/2014/main" id="{F5350BDE-5F4B-4205-B7C9-5373EEBCA6DB}"/>
              </a:ext>
            </a:extLst>
          </p:cNvPr>
          <p:cNvSpPr txBox="1"/>
          <p:nvPr/>
        </p:nvSpPr>
        <p:spPr>
          <a:xfrm>
            <a:off x="6226078" y="1508501"/>
            <a:ext cx="5638800" cy="369332"/>
          </a:xfrm>
          <a:prstGeom prst="rect">
            <a:avLst/>
          </a:prstGeom>
          <a:noFill/>
        </p:spPr>
        <p:txBody>
          <a:bodyPr wrap="square" rtlCol="0">
            <a:spAutoFit/>
          </a:bodyPr>
          <a:lstStyle/>
          <a:p>
            <a:pPr algn="ctr"/>
            <a:r>
              <a:rPr lang="en-US"/>
              <a:t>Patient / Community Engagement</a:t>
            </a:r>
          </a:p>
        </p:txBody>
      </p:sp>
      <p:sp>
        <p:nvSpPr>
          <p:cNvPr id="2" name="TextBox 1">
            <a:extLst>
              <a:ext uri="{FF2B5EF4-FFF2-40B4-BE49-F238E27FC236}">
                <a16:creationId xmlns:a16="http://schemas.microsoft.com/office/drawing/2014/main" id="{A773DADF-4432-CC4B-43F7-48665AFE8AEF}"/>
              </a:ext>
            </a:extLst>
          </p:cNvPr>
          <p:cNvSpPr txBox="1"/>
          <p:nvPr/>
        </p:nvSpPr>
        <p:spPr>
          <a:xfrm>
            <a:off x="5220276" y="2572933"/>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cs typeface="Calibri"/>
              </a:rPr>
              <a:t>67%</a:t>
            </a:r>
          </a:p>
        </p:txBody>
      </p:sp>
      <p:sp>
        <p:nvSpPr>
          <p:cNvPr id="5" name="TextBox 4">
            <a:extLst>
              <a:ext uri="{FF2B5EF4-FFF2-40B4-BE49-F238E27FC236}">
                <a16:creationId xmlns:a16="http://schemas.microsoft.com/office/drawing/2014/main" id="{B70E8C8B-434F-3DCD-099B-8FFA49D8BECC}"/>
              </a:ext>
            </a:extLst>
          </p:cNvPr>
          <p:cNvSpPr txBox="1"/>
          <p:nvPr/>
        </p:nvSpPr>
        <p:spPr>
          <a:xfrm>
            <a:off x="11513615" y="2598585"/>
            <a:ext cx="7815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dirty="0">
                <a:cs typeface="Calibri"/>
              </a:rPr>
              <a:t>25%</a:t>
            </a:r>
          </a:p>
        </p:txBody>
      </p:sp>
      <p:sp>
        <p:nvSpPr>
          <p:cNvPr id="8" name="TextBox 7">
            <a:extLst>
              <a:ext uri="{FF2B5EF4-FFF2-40B4-BE49-F238E27FC236}">
                <a16:creationId xmlns:a16="http://schemas.microsoft.com/office/drawing/2014/main" id="{BD2E3E5F-717E-392F-00F0-7AD92657A30F}"/>
              </a:ext>
            </a:extLst>
          </p:cNvPr>
          <p:cNvSpPr txBox="1"/>
          <p:nvPr/>
        </p:nvSpPr>
        <p:spPr>
          <a:xfrm>
            <a:off x="602094" y="2572933"/>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7%</a:t>
            </a:r>
          </a:p>
        </p:txBody>
      </p:sp>
      <p:sp>
        <p:nvSpPr>
          <p:cNvPr id="9" name="TextBox 8">
            <a:extLst>
              <a:ext uri="{FF2B5EF4-FFF2-40B4-BE49-F238E27FC236}">
                <a16:creationId xmlns:a16="http://schemas.microsoft.com/office/drawing/2014/main" id="{DBEBA346-B7D7-50A0-BB7D-01C17BB33C37}"/>
              </a:ext>
            </a:extLst>
          </p:cNvPr>
          <p:cNvSpPr txBox="1"/>
          <p:nvPr/>
        </p:nvSpPr>
        <p:spPr>
          <a:xfrm>
            <a:off x="6387433" y="2598585"/>
            <a:ext cx="7815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4%</a:t>
            </a:r>
          </a:p>
        </p:txBody>
      </p:sp>
      <p:graphicFrame>
        <p:nvGraphicFramePr>
          <p:cNvPr id="13" name="Chart 12">
            <a:extLst>
              <a:ext uri="{FF2B5EF4-FFF2-40B4-BE49-F238E27FC236}">
                <a16:creationId xmlns:a16="http://schemas.microsoft.com/office/drawing/2014/main" id="{00000000-0008-0000-0200-000003000000}"/>
              </a:ext>
            </a:extLst>
          </p:cNvPr>
          <p:cNvGraphicFramePr>
            <a:graphicFrameLocks/>
          </p:cNvGraphicFramePr>
          <p:nvPr>
            <p:extLst>
              <p:ext uri="{D42A27DB-BD31-4B8C-83A1-F6EECF244321}">
                <p14:modId xmlns:p14="http://schemas.microsoft.com/office/powerpoint/2010/main" val="2792787570"/>
              </p:ext>
            </p:extLst>
          </p:nvPr>
        </p:nvGraphicFramePr>
        <p:xfrm>
          <a:off x="-50165" y="2031682"/>
          <a:ext cx="5974080" cy="41370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93269422"/>
              </p:ext>
            </p:extLst>
          </p:nvPr>
        </p:nvGraphicFramePr>
        <p:xfrm>
          <a:off x="5785803" y="2030413"/>
          <a:ext cx="6402705" cy="413956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044141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92463AAA-078E-4C07-9526-8F5AA7E398C7}"/>
              </a:ext>
            </a:extLst>
          </p:cNvPr>
          <p:cNvSpPr txBox="1"/>
          <p:nvPr/>
        </p:nvSpPr>
        <p:spPr>
          <a:xfrm>
            <a:off x="76200" y="1399478"/>
            <a:ext cx="5638800" cy="369332"/>
          </a:xfrm>
          <a:prstGeom prst="rect">
            <a:avLst/>
          </a:prstGeom>
          <a:noFill/>
        </p:spPr>
        <p:txBody>
          <a:bodyPr wrap="square" rtlCol="0">
            <a:spAutoFit/>
          </a:bodyPr>
          <a:lstStyle/>
          <a:p>
            <a:pPr algn="ctr"/>
            <a:r>
              <a:rPr lang="en-US"/>
              <a:t>Promote Respectful Care Practices</a:t>
            </a:r>
          </a:p>
        </p:txBody>
      </p:sp>
      <p:sp>
        <p:nvSpPr>
          <p:cNvPr id="11" name="TextBox 10">
            <a:extLst>
              <a:ext uri="{FF2B5EF4-FFF2-40B4-BE49-F238E27FC236}">
                <a16:creationId xmlns:a16="http://schemas.microsoft.com/office/drawing/2014/main" id="{8595CE22-3DAC-45AD-8B3B-F1AAC39152DA}"/>
              </a:ext>
            </a:extLst>
          </p:cNvPr>
          <p:cNvSpPr txBox="1"/>
          <p:nvPr/>
        </p:nvSpPr>
        <p:spPr>
          <a:xfrm>
            <a:off x="6353531" y="1467749"/>
            <a:ext cx="5638800" cy="369332"/>
          </a:xfrm>
          <a:prstGeom prst="rect">
            <a:avLst/>
          </a:prstGeom>
          <a:noFill/>
        </p:spPr>
        <p:txBody>
          <a:bodyPr wrap="square" rtlCol="0">
            <a:spAutoFit/>
          </a:bodyPr>
          <a:lstStyle/>
          <a:p>
            <a:pPr algn="ctr"/>
            <a:r>
              <a:rPr lang="en-US"/>
              <a:t>Implement PREM Survey</a:t>
            </a:r>
          </a:p>
        </p:txBody>
      </p:sp>
      <p:sp>
        <p:nvSpPr>
          <p:cNvPr id="5" name="TextBox 4">
            <a:extLst>
              <a:ext uri="{FF2B5EF4-FFF2-40B4-BE49-F238E27FC236}">
                <a16:creationId xmlns:a16="http://schemas.microsoft.com/office/drawing/2014/main" id="{C88C0701-35C5-75C0-776C-BF5169C7EADB}"/>
              </a:ext>
            </a:extLst>
          </p:cNvPr>
          <p:cNvSpPr txBox="1"/>
          <p:nvPr/>
        </p:nvSpPr>
        <p:spPr>
          <a:xfrm>
            <a:off x="5361664" y="2497976"/>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cs typeface="Calibri"/>
              </a:rPr>
              <a:t>68%</a:t>
            </a:r>
          </a:p>
        </p:txBody>
      </p:sp>
      <p:sp>
        <p:nvSpPr>
          <p:cNvPr id="6" name="TextBox 5">
            <a:extLst>
              <a:ext uri="{FF2B5EF4-FFF2-40B4-BE49-F238E27FC236}">
                <a16:creationId xmlns:a16="http://schemas.microsoft.com/office/drawing/2014/main" id="{671DDD17-47CC-B4E7-AAEA-F1D96828078F}"/>
              </a:ext>
            </a:extLst>
          </p:cNvPr>
          <p:cNvSpPr txBox="1"/>
          <p:nvPr/>
        </p:nvSpPr>
        <p:spPr>
          <a:xfrm>
            <a:off x="11559797" y="2501057"/>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cs typeface="Calibri"/>
              </a:rPr>
              <a:t>59%</a:t>
            </a:r>
          </a:p>
        </p:txBody>
      </p:sp>
      <p:sp>
        <p:nvSpPr>
          <p:cNvPr id="7" name="TextBox 6">
            <a:extLst>
              <a:ext uri="{FF2B5EF4-FFF2-40B4-BE49-F238E27FC236}">
                <a16:creationId xmlns:a16="http://schemas.microsoft.com/office/drawing/2014/main" id="{9AF01B19-04B4-5A76-CD57-A1EAD742D78C}"/>
              </a:ext>
            </a:extLst>
          </p:cNvPr>
          <p:cNvSpPr txBox="1"/>
          <p:nvPr/>
        </p:nvSpPr>
        <p:spPr>
          <a:xfrm>
            <a:off x="458694" y="2497975"/>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9%</a:t>
            </a:r>
          </a:p>
        </p:txBody>
      </p:sp>
      <p:sp>
        <p:nvSpPr>
          <p:cNvPr id="8" name="TextBox 7">
            <a:extLst>
              <a:ext uri="{FF2B5EF4-FFF2-40B4-BE49-F238E27FC236}">
                <a16:creationId xmlns:a16="http://schemas.microsoft.com/office/drawing/2014/main" id="{968D3106-5247-1EBE-88FE-F0D599E95362}"/>
              </a:ext>
            </a:extLst>
          </p:cNvPr>
          <p:cNvSpPr txBox="1"/>
          <p:nvPr/>
        </p:nvSpPr>
        <p:spPr>
          <a:xfrm>
            <a:off x="6425918" y="2531845"/>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9%</a:t>
            </a:r>
          </a:p>
        </p:txBody>
      </p:sp>
      <p:graphicFrame>
        <p:nvGraphicFramePr>
          <p:cNvPr id="13" name="Chart 12">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3808915835"/>
              </p:ext>
            </p:extLst>
          </p:nvPr>
        </p:nvGraphicFramePr>
        <p:xfrm>
          <a:off x="-1349" y="1929353"/>
          <a:ext cx="6192759" cy="416109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00000000-0008-0000-0500-000002000000}"/>
              </a:ext>
            </a:extLst>
          </p:cNvPr>
          <p:cNvGraphicFramePr>
            <a:graphicFrameLocks/>
          </p:cNvGraphicFramePr>
          <p:nvPr>
            <p:extLst>
              <p:ext uri="{D42A27DB-BD31-4B8C-83A1-F6EECF244321}">
                <p14:modId xmlns:p14="http://schemas.microsoft.com/office/powerpoint/2010/main" val="4008502298"/>
              </p:ext>
            </p:extLst>
          </p:nvPr>
        </p:nvGraphicFramePr>
        <p:xfrm>
          <a:off x="5868478" y="2001059"/>
          <a:ext cx="6420785" cy="391513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5564195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B1447C71-206E-42C8-82DB-FDC3055719FA}"/>
              </a:ext>
            </a:extLst>
          </p:cNvPr>
          <p:cNvSpPr txBox="1"/>
          <p:nvPr/>
        </p:nvSpPr>
        <p:spPr>
          <a:xfrm>
            <a:off x="3155917" y="1532234"/>
            <a:ext cx="5638800" cy="369332"/>
          </a:xfrm>
          <a:prstGeom prst="rect">
            <a:avLst/>
          </a:prstGeom>
          <a:noFill/>
        </p:spPr>
        <p:txBody>
          <a:bodyPr wrap="square" rtlCol="0">
            <a:spAutoFit/>
          </a:bodyPr>
          <a:lstStyle/>
          <a:p>
            <a:pPr algn="ctr"/>
            <a:r>
              <a:rPr lang="en-US"/>
              <a:t>Postpartum Safety Education</a:t>
            </a:r>
          </a:p>
        </p:txBody>
      </p:sp>
      <p:sp>
        <p:nvSpPr>
          <p:cNvPr id="2" name="TextBox 1">
            <a:extLst>
              <a:ext uri="{FF2B5EF4-FFF2-40B4-BE49-F238E27FC236}">
                <a16:creationId xmlns:a16="http://schemas.microsoft.com/office/drawing/2014/main" id="{AF16F48F-46C4-B26B-491D-5894A660D7D2}"/>
              </a:ext>
            </a:extLst>
          </p:cNvPr>
          <p:cNvSpPr txBox="1"/>
          <p:nvPr/>
        </p:nvSpPr>
        <p:spPr>
          <a:xfrm>
            <a:off x="8773183" y="2921488"/>
            <a:ext cx="769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88%</a:t>
            </a:r>
            <a:endParaRPr lang="en-US"/>
          </a:p>
        </p:txBody>
      </p:sp>
      <p:sp>
        <p:nvSpPr>
          <p:cNvPr id="8" name="TextBox 7">
            <a:extLst>
              <a:ext uri="{FF2B5EF4-FFF2-40B4-BE49-F238E27FC236}">
                <a16:creationId xmlns:a16="http://schemas.microsoft.com/office/drawing/2014/main" id="{88B8F467-39D5-8251-D68F-6A4554A5CFC8}"/>
              </a:ext>
            </a:extLst>
          </p:cNvPr>
          <p:cNvSpPr txBox="1"/>
          <p:nvPr/>
        </p:nvSpPr>
        <p:spPr>
          <a:xfrm>
            <a:off x="3023546" y="2975366"/>
            <a:ext cx="769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54%</a:t>
            </a:r>
            <a:endParaRPr lang="en-US"/>
          </a:p>
        </p:txBody>
      </p:sp>
      <p:graphicFrame>
        <p:nvGraphicFramePr>
          <p:cNvPr id="6" name="Chart 5">
            <a:extLst>
              <a:ext uri="{FF2B5EF4-FFF2-40B4-BE49-F238E27FC236}">
                <a16:creationId xmlns:a16="http://schemas.microsoft.com/office/drawing/2014/main" id="{00000000-0008-0000-0600-000002000000}"/>
              </a:ext>
            </a:extLst>
          </p:cNvPr>
          <p:cNvGraphicFramePr>
            <a:graphicFrameLocks/>
          </p:cNvGraphicFramePr>
          <p:nvPr>
            <p:extLst>
              <p:ext uri="{D42A27DB-BD31-4B8C-83A1-F6EECF244321}">
                <p14:modId xmlns:p14="http://schemas.microsoft.com/office/powerpoint/2010/main" val="2402479566"/>
              </p:ext>
            </p:extLst>
          </p:nvPr>
        </p:nvGraphicFramePr>
        <p:xfrm>
          <a:off x="2457133" y="2396490"/>
          <a:ext cx="7085965" cy="42811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242893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02681-9063-A7C6-A7D8-09DD5EF6AD1B}"/>
              </a:ext>
            </a:extLst>
          </p:cNvPr>
          <p:cNvSpPr>
            <a:spLocks noGrp="1"/>
          </p:cNvSpPr>
          <p:nvPr>
            <p:ph type="title"/>
          </p:nvPr>
        </p:nvSpPr>
        <p:spPr>
          <a:xfrm>
            <a:off x="609600" y="228356"/>
            <a:ext cx="10972800" cy="1325563"/>
          </a:xfrm>
          <a:noFill/>
        </p:spPr>
        <p:txBody>
          <a:bodyPr/>
          <a:lstStyle/>
          <a:p>
            <a:r>
              <a:rPr lang="en-US" b="0" dirty="0">
                <a:ea typeface="+mj-lt"/>
                <a:cs typeface="+mj-lt"/>
              </a:rPr>
              <a:t>ILPQC Hospital Team Data Submission </a:t>
            </a:r>
            <a:br>
              <a:rPr lang="en-US" b="0" dirty="0">
                <a:ea typeface="+mj-lt"/>
                <a:cs typeface="+mj-lt"/>
              </a:rPr>
            </a:br>
            <a:r>
              <a:rPr lang="en-US" b="0" dirty="0">
                <a:ea typeface="+mj-lt"/>
                <a:cs typeface="+mj-lt"/>
              </a:rPr>
              <a:t>(86 Teams Total)</a:t>
            </a:r>
            <a:endParaRPr lang="en-US" dirty="0"/>
          </a:p>
        </p:txBody>
      </p:sp>
      <p:sp>
        <p:nvSpPr>
          <p:cNvPr id="4" name="Slide Number Placeholder 3">
            <a:extLst>
              <a:ext uri="{FF2B5EF4-FFF2-40B4-BE49-F238E27FC236}">
                <a16:creationId xmlns:a16="http://schemas.microsoft.com/office/drawing/2014/main" id="{18B86E96-9B0B-0F0B-AB48-115C37C47F4C}"/>
              </a:ext>
            </a:extLst>
          </p:cNvPr>
          <p:cNvSpPr>
            <a:spLocks noGrp="1"/>
          </p:cNvSpPr>
          <p:nvPr>
            <p:ph type="sldNum" sz="quarter" idx="10"/>
          </p:nvPr>
        </p:nvSpPr>
        <p:spPr/>
        <p:txBody>
          <a:bodyPr/>
          <a:lstStyle/>
          <a:p>
            <a:fld id="{97033E4B-E3EB-3D46-B2D8-3159663620FA}" type="slidenum">
              <a:rPr lang="en-US" smtClean="0"/>
              <a:pPr/>
              <a:t>19</a:t>
            </a:fld>
            <a:endParaRPr lang="en-US"/>
          </a:p>
        </p:txBody>
      </p:sp>
      <p:sp>
        <p:nvSpPr>
          <p:cNvPr id="5" name="Footer Placeholder 4">
            <a:extLst>
              <a:ext uri="{FF2B5EF4-FFF2-40B4-BE49-F238E27FC236}">
                <a16:creationId xmlns:a16="http://schemas.microsoft.com/office/drawing/2014/main" id="{3E6E4780-3C75-87BE-8C6A-0B391ACC3985}"/>
              </a:ext>
            </a:extLst>
          </p:cNvPr>
          <p:cNvSpPr>
            <a:spLocks noGrp="1"/>
          </p:cNvSpPr>
          <p:nvPr>
            <p:ph type="ftr" sz="quarter" idx="11"/>
          </p:nvPr>
        </p:nvSpPr>
        <p:spPr/>
        <p:txBody>
          <a:bodyPr/>
          <a:lstStyle/>
          <a:p>
            <a:pPr algn="l"/>
            <a:r>
              <a:rPr lang="en-US"/>
              <a:t>Illinois Perinatal Quality Collaborative</a:t>
            </a:r>
          </a:p>
        </p:txBody>
      </p:sp>
      <p:graphicFrame>
        <p:nvGraphicFramePr>
          <p:cNvPr id="9" name="Table 8">
            <a:extLst>
              <a:ext uri="{FF2B5EF4-FFF2-40B4-BE49-F238E27FC236}">
                <a16:creationId xmlns:a16="http://schemas.microsoft.com/office/drawing/2014/main" id="{F4B98AF5-00D9-2EC8-4FD2-BDE0623C40C2}"/>
              </a:ext>
            </a:extLst>
          </p:cNvPr>
          <p:cNvGraphicFramePr>
            <a:graphicFrameLocks noGrp="1"/>
          </p:cNvGraphicFramePr>
          <p:nvPr>
            <p:extLst>
              <p:ext uri="{D42A27DB-BD31-4B8C-83A1-F6EECF244321}">
                <p14:modId xmlns:p14="http://schemas.microsoft.com/office/powerpoint/2010/main" val="3183699305"/>
              </p:ext>
            </p:extLst>
          </p:nvPr>
        </p:nvGraphicFramePr>
        <p:xfrm>
          <a:off x="366712" y="1616303"/>
          <a:ext cx="11754907" cy="5120640"/>
        </p:xfrm>
        <a:graphic>
          <a:graphicData uri="http://schemas.openxmlformats.org/drawingml/2006/table">
            <a:tbl>
              <a:tblPr firstRow="1" bandRow="1">
                <a:tableStyleId>{5C22544A-7EE6-4342-B048-85BDC9FD1C3A}</a:tableStyleId>
              </a:tblPr>
              <a:tblGrid>
                <a:gridCol w="5774855">
                  <a:extLst>
                    <a:ext uri="{9D8B030D-6E8A-4147-A177-3AD203B41FA5}">
                      <a16:colId xmlns:a16="http://schemas.microsoft.com/office/drawing/2014/main" val="3778819647"/>
                    </a:ext>
                  </a:extLst>
                </a:gridCol>
                <a:gridCol w="2872770">
                  <a:extLst>
                    <a:ext uri="{9D8B030D-6E8A-4147-A177-3AD203B41FA5}">
                      <a16:colId xmlns:a16="http://schemas.microsoft.com/office/drawing/2014/main" val="472563211"/>
                    </a:ext>
                  </a:extLst>
                </a:gridCol>
                <a:gridCol w="3107282">
                  <a:extLst>
                    <a:ext uri="{9D8B030D-6E8A-4147-A177-3AD203B41FA5}">
                      <a16:colId xmlns:a16="http://schemas.microsoft.com/office/drawing/2014/main" val="332343928"/>
                    </a:ext>
                  </a:extLst>
                </a:gridCol>
              </a:tblGrid>
              <a:tr h="361950">
                <a:tc>
                  <a:txBody>
                    <a:bodyPr/>
                    <a:lstStyle/>
                    <a:p>
                      <a:pPr fontAlgn="base"/>
                      <a:r>
                        <a:rPr lang="en-US" sz="2400" dirty="0">
                          <a:effectLst/>
                        </a:rPr>
                        <a:t>Structure Measures​</a:t>
                      </a:r>
                      <a:endParaRPr lang="en-US" b="1" dirty="0">
                        <a:solidFill>
                          <a:srgbClr val="FFFFFF"/>
                        </a:solidFill>
                        <a:effectLst/>
                      </a:endParaRPr>
                    </a:p>
                  </a:txBody>
                  <a:tcPr/>
                </a:tc>
                <a:tc>
                  <a:txBody>
                    <a:bodyPr/>
                    <a:lstStyle/>
                    <a:p>
                      <a:pPr algn="l" fontAlgn="base"/>
                      <a:r>
                        <a:rPr lang="en-US" sz="2400" dirty="0">
                          <a:effectLst/>
                        </a:rPr>
                        <a:t>Baseline </a:t>
                      </a:r>
                      <a:endParaRPr lang="en-US" b="1" dirty="0">
                        <a:solidFill>
                          <a:srgbClr val="FFFFFF"/>
                        </a:solidFill>
                        <a:effectLst/>
                      </a:endParaRPr>
                    </a:p>
                    <a:p>
                      <a:pPr lvl="0" algn="l">
                        <a:buNone/>
                      </a:pPr>
                      <a:r>
                        <a:rPr lang="en-US" sz="2400" dirty="0">
                          <a:effectLst/>
                        </a:rPr>
                        <a:t>(% In Place)​</a:t>
                      </a:r>
                      <a:endParaRPr lang="en-US" b="1" dirty="0">
                        <a:solidFill>
                          <a:srgbClr val="FFFFFF"/>
                        </a:solidFill>
                        <a:effectLst/>
                      </a:endParaRPr>
                    </a:p>
                  </a:txBody>
                  <a:tcPr/>
                </a:tc>
                <a:tc>
                  <a:txBody>
                    <a:bodyPr/>
                    <a:lstStyle/>
                    <a:p>
                      <a:pPr algn="l" fontAlgn="base"/>
                      <a:r>
                        <a:rPr lang="en-US" sz="2400" dirty="0">
                          <a:effectLst/>
                        </a:rPr>
                        <a:t>February 2023</a:t>
                      </a:r>
                      <a:endParaRPr lang="en-US" dirty="0">
                        <a:effectLst/>
                      </a:endParaRPr>
                    </a:p>
                    <a:p>
                      <a:pPr algn="l" fontAlgn="base"/>
                      <a:r>
                        <a:rPr lang="en-US" sz="2400" dirty="0">
                          <a:effectLst/>
                        </a:rPr>
                        <a:t>(% In Place)​</a:t>
                      </a:r>
                      <a:endParaRPr lang="en-US" b="1" dirty="0">
                        <a:solidFill>
                          <a:srgbClr val="FFFFFF"/>
                        </a:solidFill>
                        <a:effectLst/>
                      </a:endParaRPr>
                    </a:p>
                  </a:txBody>
                  <a:tcPr/>
                </a:tc>
                <a:extLst>
                  <a:ext uri="{0D108BD9-81ED-4DB2-BD59-A6C34878D82A}">
                    <a16:rowId xmlns:a16="http://schemas.microsoft.com/office/drawing/2014/main" val="4187057682"/>
                  </a:ext>
                </a:extLst>
              </a:tr>
              <a:tr h="361950">
                <a:tc>
                  <a:txBody>
                    <a:bodyPr/>
                    <a:lstStyle/>
                    <a:p>
                      <a:pPr fontAlgn="base"/>
                      <a:r>
                        <a:rPr lang="en-US" sz="2400" dirty="0">
                          <a:effectLst/>
                        </a:rPr>
                        <a:t>SDOH Screening (L&amp;D)​</a:t>
                      </a:r>
                      <a:endParaRPr lang="en-US" dirty="0">
                        <a:solidFill>
                          <a:srgbClr val="444C55"/>
                        </a:solidFill>
                        <a:effectLst/>
                      </a:endParaRPr>
                    </a:p>
                  </a:txBody>
                  <a:tcPr/>
                </a:tc>
                <a:tc>
                  <a:txBody>
                    <a:bodyPr/>
                    <a:lstStyle/>
                    <a:p>
                      <a:pPr algn="ctr" fontAlgn="base"/>
                      <a:r>
                        <a:rPr lang="en-US" sz="2400" dirty="0">
                          <a:effectLst/>
                        </a:rPr>
                        <a:t>17%​</a:t>
                      </a:r>
                      <a:endParaRPr lang="en-US" dirty="0">
                        <a:solidFill>
                          <a:srgbClr val="444C55"/>
                        </a:solidFill>
                        <a:effectLst/>
                      </a:endParaRPr>
                    </a:p>
                  </a:txBody>
                  <a:tcPr/>
                </a:tc>
                <a:tc>
                  <a:txBody>
                    <a:bodyPr/>
                    <a:lstStyle/>
                    <a:p>
                      <a:pPr algn="ctr" fontAlgn="base"/>
                      <a:r>
                        <a:rPr lang="en-US" sz="2400" dirty="0">
                          <a:effectLst/>
                        </a:rPr>
                        <a:t>88%​</a:t>
                      </a:r>
                      <a:endParaRPr lang="en-US" dirty="0">
                        <a:solidFill>
                          <a:srgbClr val="444C55"/>
                        </a:solidFill>
                        <a:effectLst/>
                      </a:endParaRPr>
                    </a:p>
                  </a:txBody>
                  <a:tcPr/>
                </a:tc>
                <a:extLst>
                  <a:ext uri="{0D108BD9-81ED-4DB2-BD59-A6C34878D82A}">
                    <a16:rowId xmlns:a16="http://schemas.microsoft.com/office/drawing/2014/main" val="653053379"/>
                  </a:ext>
                </a:extLst>
              </a:tr>
              <a:tr h="361950">
                <a:tc>
                  <a:txBody>
                    <a:bodyPr/>
                    <a:lstStyle/>
                    <a:p>
                      <a:pPr fontAlgn="base"/>
                      <a:r>
                        <a:rPr lang="en-US" sz="2400" dirty="0">
                          <a:effectLst/>
                        </a:rPr>
                        <a:t>Identifying local SDOH Resources​</a:t>
                      </a:r>
                      <a:endParaRPr lang="en-US" dirty="0">
                        <a:solidFill>
                          <a:srgbClr val="444C55"/>
                        </a:solidFill>
                        <a:effectLst/>
                      </a:endParaRPr>
                    </a:p>
                  </a:txBody>
                  <a:tcPr/>
                </a:tc>
                <a:tc>
                  <a:txBody>
                    <a:bodyPr/>
                    <a:lstStyle/>
                    <a:p>
                      <a:pPr algn="ctr" fontAlgn="base"/>
                      <a:r>
                        <a:rPr lang="en-US" sz="2400" dirty="0">
                          <a:effectLst/>
                        </a:rPr>
                        <a:t>3%​</a:t>
                      </a:r>
                      <a:endParaRPr lang="en-US" dirty="0">
                        <a:solidFill>
                          <a:srgbClr val="444C55"/>
                        </a:solidFill>
                        <a:effectLst/>
                      </a:endParaRPr>
                    </a:p>
                  </a:txBody>
                  <a:tcPr/>
                </a:tc>
                <a:tc>
                  <a:txBody>
                    <a:bodyPr/>
                    <a:lstStyle/>
                    <a:p>
                      <a:pPr algn="ctr" fontAlgn="base"/>
                      <a:r>
                        <a:rPr lang="en-US" sz="2400" dirty="0">
                          <a:effectLst/>
                        </a:rPr>
                        <a:t>55%​</a:t>
                      </a:r>
                      <a:endParaRPr lang="en-US" dirty="0">
                        <a:solidFill>
                          <a:srgbClr val="444C55"/>
                        </a:solidFill>
                        <a:effectLst/>
                      </a:endParaRPr>
                    </a:p>
                  </a:txBody>
                  <a:tcPr/>
                </a:tc>
                <a:extLst>
                  <a:ext uri="{0D108BD9-81ED-4DB2-BD59-A6C34878D82A}">
                    <a16:rowId xmlns:a16="http://schemas.microsoft.com/office/drawing/2014/main" val="1824170576"/>
                  </a:ext>
                </a:extLst>
              </a:tr>
              <a:tr h="361950">
                <a:tc>
                  <a:txBody>
                    <a:bodyPr/>
                    <a:lstStyle/>
                    <a:p>
                      <a:pPr fontAlgn="base"/>
                      <a:r>
                        <a:rPr lang="en-US" sz="2400" dirty="0">
                          <a:effectLst/>
                        </a:rPr>
                        <a:t>Optimize Self-Reported ​</a:t>
                      </a:r>
                      <a:endParaRPr lang="en-US" dirty="0">
                        <a:effectLst/>
                      </a:endParaRPr>
                    </a:p>
                    <a:p>
                      <a:pPr fontAlgn="base"/>
                      <a:r>
                        <a:rPr lang="en-US" sz="2400" dirty="0">
                          <a:effectLst/>
                        </a:rPr>
                        <a:t>Race and Ethnicity Collection​</a:t>
                      </a:r>
                      <a:endParaRPr lang="en-US" dirty="0">
                        <a:solidFill>
                          <a:srgbClr val="444C55"/>
                        </a:solidFill>
                        <a:effectLst/>
                      </a:endParaRPr>
                    </a:p>
                  </a:txBody>
                  <a:tcPr/>
                </a:tc>
                <a:tc>
                  <a:txBody>
                    <a:bodyPr/>
                    <a:lstStyle/>
                    <a:p>
                      <a:pPr algn="ctr" fontAlgn="base"/>
                      <a:r>
                        <a:rPr lang="en-US" sz="2400" dirty="0">
                          <a:effectLst/>
                        </a:rPr>
                        <a:t>7%​</a:t>
                      </a:r>
                      <a:endParaRPr lang="en-US" dirty="0">
                        <a:solidFill>
                          <a:srgbClr val="444C55"/>
                        </a:solidFill>
                        <a:effectLst/>
                      </a:endParaRPr>
                    </a:p>
                  </a:txBody>
                  <a:tcPr/>
                </a:tc>
                <a:tc>
                  <a:txBody>
                    <a:bodyPr/>
                    <a:lstStyle/>
                    <a:p>
                      <a:pPr algn="ctr" fontAlgn="base"/>
                      <a:r>
                        <a:rPr lang="en-US" sz="2400" dirty="0">
                          <a:effectLst/>
                        </a:rPr>
                        <a:t>67%​</a:t>
                      </a:r>
                      <a:endParaRPr lang="en-US" dirty="0">
                        <a:solidFill>
                          <a:srgbClr val="444C55"/>
                        </a:solidFill>
                        <a:effectLst/>
                      </a:endParaRPr>
                    </a:p>
                  </a:txBody>
                  <a:tcPr/>
                </a:tc>
                <a:extLst>
                  <a:ext uri="{0D108BD9-81ED-4DB2-BD59-A6C34878D82A}">
                    <a16:rowId xmlns:a16="http://schemas.microsoft.com/office/drawing/2014/main" val="1645916442"/>
                  </a:ext>
                </a:extLst>
              </a:tr>
              <a:tr h="361950">
                <a:tc>
                  <a:txBody>
                    <a:bodyPr/>
                    <a:lstStyle/>
                    <a:p>
                      <a:pPr fontAlgn="base"/>
                      <a:r>
                        <a:rPr lang="en-US" sz="2400" dirty="0">
                          <a:effectLst/>
                        </a:rPr>
                        <a:t>Engage Patients and Community ​</a:t>
                      </a:r>
                      <a:endParaRPr lang="en-US" dirty="0">
                        <a:effectLst/>
                      </a:endParaRPr>
                    </a:p>
                    <a:p>
                      <a:pPr fontAlgn="base"/>
                      <a:r>
                        <a:rPr lang="en-US" sz="2400" dirty="0">
                          <a:effectLst/>
                        </a:rPr>
                        <a:t>in QI Work​</a:t>
                      </a:r>
                      <a:endParaRPr lang="en-US" dirty="0">
                        <a:solidFill>
                          <a:srgbClr val="444C55"/>
                        </a:solidFill>
                        <a:effectLst/>
                      </a:endParaRPr>
                    </a:p>
                  </a:txBody>
                  <a:tcPr/>
                </a:tc>
                <a:tc>
                  <a:txBody>
                    <a:bodyPr/>
                    <a:lstStyle/>
                    <a:p>
                      <a:pPr algn="ctr" fontAlgn="base"/>
                      <a:r>
                        <a:rPr lang="en-US" sz="2400" dirty="0">
                          <a:effectLst/>
                        </a:rPr>
                        <a:t>4%​</a:t>
                      </a:r>
                      <a:endParaRPr lang="en-US" dirty="0">
                        <a:solidFill>
                          <a:srgbClr val="444C55"/>
                        </a:solidFill>
                        <a:effectLst/>
                      </a:endParaRPr>
                    </a:p>
                  </a:txBody>
                  <a:tcPr/>
                </a:tc>
                <a:tc>
                  <a:txBody>
                    <a:bodyPr/>
                    <a:lstStyle/>
                    <a:p>
                      <a:pPr algn="ctr" fontAlgn="base"/>
                      <a:r>
                        <a:rPr lang="en-US" sz="2400" dirty="0">
                          <a:effectLst/>
                        </a:rPr>
                        <a:t>25%​</a:t>
                      </a:r>
                      <a:endParaRPr lang="en-US" dirty="0">
                        <a:solidFill>
                          <a:srgbClr val="444C55"/>
                        </a:solidFill>
                        <a:effectLst/>
                      </a:endParaRPr>
                    </a:p>
                  </a:txBody>
                  <a:tcPr/>
                </a:tc>
                <a:extLst>
                  <a:ext uri="{0D108BD9-81ED-4DB2-BD59-A6C34878D82A}">
                    <a16:rowId xmlns:a16="http://schemas.microsoft.com/office/drawing/2014/main" val="330106204"/>
                  </a:ext>
                </a:extLst>
              </a:tr>
              <a:tr h="638175">
                <a:tc>
                  <a:txBody>
                    <a:bodyPr/>
                    <a:lstStyle/>
                    <a:p>
                      <a:pPr fontAlgn="base"/>
                      <a:r>
                        <a:rPr lang="en-US" sz="2400" dirty="0">
                          <a:effectLst/>
                        </a:rPr>
                        <a:t>Sharing Respectful Care Strategies with Healthcare Team and Patients​</a:t>
                      </a:r>
                      <a:endParaRPr lang="en-US" dirty="0">
                        <a:solidFill>
                          <a:srgbClr val="444C55"/>
                        </a:solidFill>
                        <a:effectLst/>
                      </a:endParaRPr>
                    </a:p>
                  </a:txBody>
                  <a:tcPr/>
                </a:tc>
                <a:tc>
                  <a:txBody>
                    <a:bodyPr/>
                    <a:lstStyle/>
                    <a:p>
                      <a:pPr algn="ctr" fontAlgn="base"/>
                      <a:r>
                        <a:rPr lang="en-US" sz="2400" dirty="0">
                          <a:effectLst/>
                        </a:rPr>
                        <a:t>9%​</a:t>
                      </a:r>
                      <a:endParaRPr lang="en-US" dirty="0">
                        <a:solidFill>
                          <a:srgbClr val="444C55"/>
                        </a:solidFill>
                        <a:effectLst/>
                      </a:endParaRPr>
                    </a:p>
                  </a:txBody>
                  <a:tcPr/>
                </a:tc>
                <a:tc>
                  <a:txBody>
                    <a:bodyPr/>
                    <a:lstStyle/>
                    <a:p>
                      <a:pPr algn="ctr" fontAlgn="base"/>
                      <a:r>
                        <a:rPr lang="en-US" sz="2400" dirty="0">
                          <a:effectLst/>
                        </a:rPr>
                        <a:t>68%​</a:t>
                      </a:r>
                      <a:endParaRPr lang="en-US" dirty="0">
                        <a:solidFill>
                          <a:srgbClr val="444C55"/>
                        </a:solidFill>
                        <a:effectLst/>
                      </a:endParaRPr>
                    </a:p>
                  </a:txBody>
                  <a:tcPr/>
                </a:tc>
                <a:extLst>
                  <a:ext uri="{0D108BD9-81ED-4DB2-BD59-A6C34878D82A}">
                    <a16:rowId xmlns:a16="http://schemas.microsoft.com/office/drawing/2014/main" val="2542692599"/>
                  </a:ext>
                </a:extLst>
              </a:tr>
              <a:tr h="361950">
                <a:tc>
                  <a:txBody>
                    <a:bodyPr/>
                    <a:lstStyle/>
                    <a:p>
                      <a:pPr fontAlgn="base"/>
                      <a:r>
                        <a:rPr lang="en-US" sz="2400" dirty="0">
                          <a:effectLst/>
                        </a:rPr>
                        <a:t>PREM Implementation​</a:t>
                      </a:r>
                      <a:endParaRPr lang="en-US" dirty="0">
                        <a:solidFill>
                          <a:srgbClr val="444C55"/>
                        </a:solidFill>
                        <a:effectLst/>
                      </a:endParaRPr>
                    </a:p>
                  </a:txBody>
                  <a:tcPr/>
                </a:tc>
                <a:tc>
                  <a:txBody>
                    <a:bodyPr/>
                    <a:lstStyle/>
                    <a:p>
                      <a:pPr algn="ctr" fontAlgn="base"/>
                      <a:r>
                        <a:rPr lang="en-US" sz="2400" dirty="0">
                          <a:effectLst/>
                        </a:rPr>
                        <a:t>9%​</a:t>
                      </a:r>
                      <a:endParaRPr lang="en-US" dirty="0">
                        <a:solidFill>
                          <a:srgbClr val="444C55"/>
                        </a:solidFill>
                        <a:effectLst/>
                      </a:endParaRPr>
                    </a:p>
                  </a:txBody>
                  <a:tcPr/>
                </a:tc>
                <a:tc>
                  <a:txBody>
                    <a:bodyPr/>
                    <a:lstStyle/>
                    <a:p>
                      <a:pPr algn="ctr" fontAlgn="base"/>
                      <a:r>
                        <a:rPr lang="en-US" sz="2400" dirty="0">
                          <a:effectLst/>
                        </a:rPr>
                        <a:t>59%​</a:t>
                      </a:r>
                      <a:endParaRPr lang="en-US" dirty="0">
                        <a:solidFill>
                          <a:srgbClr val="444C55"/>
                        </a:solidFill>
                        <a:effectLst/>
                      </a:endParaRPr>
                    </a:p>
                  </a:txBody>
                  <a:tcPr/>
                </a:tc>
                <a:extLst>
                  <a:ext uri="{0D108BD9-81ED-4DB2-BD59-A6C34878D82A}">
                    <a16:rowId xmlns:a16="http://schemas.microsoft.com/office/drawing/2014/main" val="977790986"/>
                  </a:ext>
                </a:extLst>
              </a:tr>
              <a:tr h="361950">
                <a:tc>
                  <a:txBody>
                    <a:bodyPr/>
                    <a:lstStyle/>
                    <a:p>
                      <a:pPr fontAlgn="base"/>
                      <a:r>
                        <a:rPr lang="en-US" sz="2400" dirty="0">
                          <a:effectLst/>
                        </a:rPr>
                        <a:t>Postpartum Safety Patient Education​</a:t>
                      </a:r>
                      <a:endParaRPr lang="en-US" dirty="0">
                        <a:solidFill>
                          <a:srgbClr val="444C55"/>
                        </a:solidFill>
                        <a:effectLst/>
                      </a:endParaRPr>
                    </a:p>
                  </a:txBody>
                  <a:tcPr/>
                </a:tc>
                <a:tc>
                  <a:txBody>
                    <a:bodyPr/>
                    <a:lstStyle/>
                    <a:p>
                      <a:pPr algn="ctr" fontAlgn="base"/>
                      <a:r>
                        <a:rPr lang="en-US" sz="2400" dirty="0">
                          <a:effectLst/>
                        </a:rPr>
                        <a:t>54%​</a:t>
                      </a:r>
                      <a:endParaRPr lang="en-US" dirty="0">
                        <a:solidFill>
                          <a:srgbClr val="444C55"/>
                        </a:solidFill>
                        <a:effectLst/>
                      </a:endParaRPr>
                    </a:p>
                  </a:txBody>
                  <a:tcPr/>
                </a:tc>
                <a:tc>
                  <a:txBody>
                    <a:bodyPr/>
                    <a:lstStyle/>
                    <a:p>
                      <a:pPr algn="ctr" fontAlgn="base"/>
                      <a:r>
                        <a:rPr lang="en-US" sz="2400" b="0" dirty="0">
                          <a:effectLst/>
                        </a:rPr>
                        <a:t>88%​</a:t>
                      </a:r>
                      <a:endParaRPr lang="en-US" b="0" dirty="0">
                        <a:solidFill>
                          <a:srgbClr val="444C55"/>
                        </a:solidFill>
                        <a:effectLst/>
                      </a:endParaRPr>
                    </a:p>
                  </a:txBody>
                  <a:tcPr/>
                </a:tc>
                <a:extLst>
                  <a:ext uri="{0D108BD9-81ED-4DB2-BD59-A6C34878D82A}">
                    <a16:rowId xmlns:a16="http://schemas.microsoft.com/office/drawing/2014/main" val="1388057457"/>
                  </a:ext>
                </a:extLst>
              </a:tr>
            </a:tbl>
          </a:graphicData>
        </a:graphic>
      </p:graphicFrame>
    </p:spTree>
    <p:extLst>
      <p:ext uri="{BB962C8B-B14F-4D97-AF65-F5344CB8AC3E}">
        <p14:creationId xmlns:p14="http://schemas.microsoft.com/office/powerpoint/2010/main" val="3566313160"/>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13E7ED-8E07-4009-BBF3-8AAAE7541F28}"/>
              </a:ext>
            </a:extLst>
          </p:cNvPr>
          <p:cNvSpPr>
            <a:spLocks noGrp="1"/>
          </p:cNvSpPr>
          <p:nvPr>
            <p:ph idx="1"/>
          </p:nvPr>
        </p:nvSpPr>
        <p:spPr/>
        <p:txBody>
          <a:bodyPr/>
          <a:lstStyle/>
          <a:p>
            <a:r>
              <a:rPr lang="en-US" dirty="0"/>
              <a:t>We invite you all to join us in celebrating </a:t>
            </a:r>
            <a:r>
              <a:rPr lang="en-US" u="sng" dirty="0">
                <a:hlinkClick r:id="rId2"/>
              </a:rPr>
              <a:t>Black Maternal Health Week</a:t>
            </a:r>
            <a:r>
              <a:rPr lang="en-US" dirty="0"/>
              <a:t> (April 11th-17th), founded by the </a:t>
            </a:r>
            <a:r>
              <a:rPr lang="en-US" u="sng" dirty="0">
                <a:hlinkClick r:id="rId3"/>
              </a:rPr>
              <a:t>Black Mamas Matter Alliance</a:t>
            </a:r>
            <a:r>
              <a:rPr lang="en-US" dirty="0"/>
              <a:t> (BMMA)! We are providing you a list of opportunities to celebrate, learn, and join discussions on how all of us can make a difference to improve Black Maternal Health. Please share these resources with your BE Team Members, providers, nurses and staff or organize an event for all of your team members to join!</a:t>
            </a:r>
            <a:br>
              <a:rPr lang="en-US" dirty="0"/>
            </a:br>
            <a:br>
              <a:rPr lang="en-US" dirty="0"/>
            </a:br>
            <a:r>
              <a:rPr lang="en-US" dirty="0"/>
              <a:t>We challenge you and your clinical team members to watch something new, gain a new perspective, learn a new strategy, and most importantly take part in the discussion on how we can all elevate Black Maternal Health!</a:t>
            </a:r>
          </a:p>
        </p:txBody>
      </p:sp>
      <p:sp>
        <p:nvSpPr>
          <p:cNvPr id="4" name="Slide Number Placeholder 3">
            <a:extLst>
              <a:ext uri="{FF2B5EF4-FFF2-40B4-BE49-F238E27FC236}">
                <a16:creationId xmlns:a16="http://schemas.microsoft.com/office/drawing/2014/main" id="{39A6496B-56AF-4335-90CD-782BC940A7D2}"/>
              </a:ext>
            </a:extLst>
          </p:cNvPr>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a:extLst>
              <a:ext uri="{FF2B5EF4-FFF2-40B4-BE49-F238E27FC236}">
                <a16:creationId xmlns:a16="http://schemas.microsoft.com/office/drawing/2014/main" id="{670FFFCE-DBCA-4E14-BBE9-0C7FCE8BFC35}"/>
              </a:ext>
            </a:extLst>
          </p:cNvPr>
          <p:cNvSpPr>
            <a:spLocks noGrp="1"/>
          </p:cNvSpPr>
          <p:nvPr>
            <p:ph type="ftr" sz="quarter" idx="11"/>
          </p:nvPr>
        </p:nvSpPr>
        <p:spPr/>
        <p:txBody>
          <a:bodyPr/>
          <a:lstStyle/>
          <a:p>
            <a:pPr algn="l"/>
            <a:r>
              <a:rPr lang="en-US"/>
              <a:t>Illinois Perinatal Quality Collaborative</a:t>
            </a:r>
          </a:p>
        </p:txBody>
      </p:sp>
      <p:sp>
        <p:nvSpPr>
          <p:cNvPr id="6" name="Title 1">
            <a:extLst>
              <a:ext uri="{FF2B5EF4-FFF2-40B4-BE49-F238E27FC236}">
                <a16:creationId xmlns:a16="http://schemas.microsoft.com/office/drawing/2014/main" id="{FCB297A7-DC4D-4103-83E8-B5AC5B60BFB6}"/>
              </a:ext>
            </a:extLst>
          </p:cNvPr>
          <p:cNvSpPr txBox="1">
            <a:spLocks/>
          </p:cNvSpPr>
          <p:nvPr/>
        </p:nvSpPr>
        <p:spPr>
          <a:xfrm>
            <a:off x="397310" y="-278748"/>
            <a:ext cx="9365380" cy="2014679"/>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dirty="0"/>
              <a:t>Celebrating Black Maternal Health Week</a:t>
            </a:r>
          </a:p>
        </p:txBody>
      </p:sp>
      <p:sp>
        <p:nvSpPr>
          <p:cNvPr id="7" name="Subtitle 2">
            <a:extLst>
              <a:ext uri="{FF2B5EF4-FFF2-40B4-BE49-F238E27FC236}">
                <a16:creationId xmlns:a16="http://schemas.microsoft.com/office/drawing/2014/main" id="{B10B7B68-174B-4C57-9C23-D658D70A283C}"/>
              </a:ext>
            </a:extLst>
          </p:cNvPr>
          <p:cNvSpPr txBox="1">
            <a:spLocks/>
          </p:cNvSpPr>
          <p:nvPr/>
        </p:nvSpPr>
        <p:spPr>
          <a:xfrm>
            <a:off x="1346200" y="928749"/>
            <a:ext cx="5638800" cy="986569"/>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4400" dirty="0"/>
              <a:t>April 11 to April 17</a:t>
            </a:r>
          </a:p>
        </p:txBody>
      </p:sp>
    </p:spTree>
    <p:extLst>
      <p:ext uri="{BB962C8B-B14F-4D97-AF65-F5344CB8AC3E}">
        <p14:creationId xmlns:p14="http://schemas.microsoft.com/office/powerpoint/2010/main" val="9210708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17E90-5216-7B39-A4F5-CE207928746B}"/>
              </a:ext>
            </a:extLst>
          </p:cNvPr>
          <p:cNvSpPr>
            <a:spLocks noGrp="1"/>
          </p:cNvSpPr>
          <p:nvPr>
            <p:ph type="title"/>
          </p:nvPr>
        </p:nvSpPr>
        <p:spPr/>
        <p:txBody>
          <a:bodyPr/>
          <a:lstStyle/>
          <a:p>
            <a:r>
              <a:rPr lang="en-US">
                <a:ea typeface="Lato Medium"/>
                <a:cs typeface="Lato Medium"/>
              </a:rPr>
              <a:t>PREM Data Breakdown</a:t>
            </a:r>
            <a:endParaRPr lang="en-US"/>
          </a:p>
        </p:txBody>
      </p:sp>
    </p:spTree>
    <p:extLst>
      <p:ext uri="{BB962C8B-B14F-4D97-AF65-F5344CB8AC3E}">
        <p14:creationId xmlns:p14="http://schemas.microsoft.com/office/powerpoint/2010/main" val="9465473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391885" y="46149"/>
            <a:ext cx="6762262" cy="1345101"/>
          </a:xfrm>
          <a:noFill/>
        </p:spPr>
        <p:txBody>
          <a:bodyPr/>
          <a:lstStyle/>
          <a:p>
            <a:pPr marL="12700" marR="5080">
              <a:spcAft>
                <a:spcPct val="0"/>
              </a:spcAft>
            </a:pPr>
            <a:r>
              <a:rPr lang="en-US">
                <a:ea typeface="Lato Medium"/>
                <a:cs typeface="Lato Medium"/>
              </a:rPr>
              <a:t>PREM Survey Completion</a:t>
            </a:r>
            <a:endParaRPr lang="en-US"/>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21</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7" name="Graphic 8" descr="Comment Heart with solid fill">
            <a:extLst>
              <a:ext uri="{FF2B5EF4-FFF2-40B4-BE49-F238E27FC236}">
                <a16:creationId xmlns:a16="http://schemas.microsoft.com/office/drawing/2014/main" id="{D87B850A-7D54-E2AE-BDEA-E251864DA8A1}"/>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9211" y="585366"/>
            <a:ext cx="848990" cy="844123"/>
          </a:xfrm>
          <a:prstGeom prst="rect">
            <a:avLst/>
          </a:prstGeom>
        </p:spPr>
      </p:pic>
      <p:pic>
        <p:nvPicPr>
          <p:cNvPr id="9" name="Graphic 9" descr="Chat bubble with solid fill">
            <a:extLst>
              <a:ext uri="{FF2B5EF4-FFF2-40B4-BE49-F238E27FC236}">
                <a16:creationId xmlns:a16="http://schemas.microsoft.com/office/drawing/2014/main" id="{50CFD431-CB01-C910-AC6D-370A2FB8383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452264" y="50429"/>
            <a:ext cx="908632" cy="893999"/>
          </a:xfrm>
          <a:prstGeom prst="rect">
            <a:avLst/>
          </a:prstGeom>
        </p:spPr>
      </p:pic>
      <p:sp>
        <p:nvSpPr>
          <p:cNvPr id="11" name="TextBox 10">
            <a:extLst>
              <a:ext uri="{FF2B5EF4-FFF2-40B4-BE49-F238E27FC236}">
                <a16:creationId xmlns:a16="http://schemas.microsoft.com/office/drawing/2014/main" id="{8320719F-594E-E227-EE8E-E8A38B7442F7}"/>
              </a:ext>
            </a:extLst>
          </p:cNvPr>
          <p:cNvSpPr txBox="1"/>
          <p:nvPr/>
        </p:nvSpPr>
        <p:spPr>
          <a:xfrm>
            <a:off x="258567" y="1634783"/>
            <a:ext cx="5191157" cy="38472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cs typeface="Arial"/>
              </a:rPr>
              <a:t>To date, </a:t>
            </a:r>
            <a:endParaRPr lang="en-US" sz="2400" dirty="0">
              <a:ea typeface="+mn-lt"/>
              <a:cs typeface="+mn-lt"/>
            </a:endParaRPr>
          </a:p>
          <a:p>
            <a:r>
              <a:rPr lang="en-US" sz="2400" b="1" dirty="0">
                <a:cs typeface="Arial"/>
              </a:rPr>
              <a:t>2,398</a:t>
            </a:r>
            <a:r>
              <a:rPr lang="en-US" sz="2400" dirty="0">
                <a:cs typeface="Arial"/>
              </a:rPr>
              <a:t> PREM surveys submitted </a:t>
            </a:r>
            <a:r>
              <a:rPr lang="en-US" sz="2400" b="1" dirty="0">
                <a:cs typeface="Arial"/>
              </a:rPr>
              <a:t>across 55 hospitals </a:t>
            </a:r>
            <a:endParaRPr lang="en-US" sz="2400" b="1" dirty="0">
              <a:ea typeface="+mn-lt"/>
              <a:cs typeface="+mn-lt"/>
            </a:endParaRPr>
          </a:p>
          <a:p>
            <a:endParaRPr lang="en-US" sz="2400">
              <a:ea typeface="+mn-lt"/>
              <a:cs typeface="+mn-lt"/>
            </a:endParaRPr>
          </a:p>
          <a:p>
            <a:r>
              <a:rPr lang="en-US" sz="2400" dirty="0">
                <a:ea typeface="+mn-lt"/>
                <a:cs typeface="+mn-lt"/>
              </a:rPr>
              <a:t>As of February 2023, the statewide </a:t>
            </a:r>
            <a:r>
              <a:rPr lang="en-US" sz="2400" b="1" dirty="0">
                <a:ea typeface="+mn-lt"/>
                <a:cs typeface="+mn-lt"/>
              </a:rPr>
              <a:t>average PREM completion rate is 22.1%</a:t>
            </a:r>
            <a:endParaRPr lang="en-US" sz="2400" dirty="0">
              <a:ea typeface="+mn-lt"/>
              <a:cs typeface="+mn-lt"/>
            </a:endParaRPr>
          </a:p>
          <a:p>
            <a:endParaRPr lang="en-US" sz="2400">
              <a:ea typeface="+mn-lt"/>
              <a:cs typeface="+mn-lt"/>
            </a:endParaRPr>
          </a:p>
          <a:p>
            <a:r>
              <a:rPr lang="en-US" sz="2400" dirty="0">
                <a:ea typeface="+mn-lt"/>
                <a:cs typeface="+mn-lt"/>
              </a:rPr>
              <a:t>A few hospitals have </a:t>
            </a:r>
            <a:r>
              <a:rPr lang="en-US" sz="2400" b="1" dirty="0">
                <a:ea typeface="+mn-lt"/>
                <a:cs typeface="+mn-lt"/>
              </a:rPr>
              <a:t>completion rates ranging from 30-90%</a:t>
            </a:r>
            <a:r>
              <a:rPr lang="en-US" sz="2400" dirty="0">
                <a:ea typeface="+mn-lt"/>
                <a:cs typeface="+mn-lt"/>
              </a:rPr>
              <a:t>. Great work!!</a:t>
            </a:r>
          </a:p>
          <a:p>
            <a:endParaRPr lang="en-US" sz="2800">
              <a:cs typeface="Arial"/>
            </a:endParaRPr>
          </a:p>
        </p:txBody>
      </p:sp>
      <p:pic>
        <p:nvPicPr>
          <p:cNvPr id="10" name="Picture 13" descr="A picture containing text, screenshot, person&#10;&#10;Description automatically generated">
            <a:extLst>
              <a:ext uri="{FF2B5EF4-FFF2-40B4-BE49-F238E27FC236}">
                <a16:creationId xmlns:a16="http://schemas.microsoft.com/office/drawing/2014/main" id="{BA2BBB74-969C-9D8B-3F52-AED0C91089E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326"/>
          <a:stretch/>
        </p:blipFill>
        <p:spPr>
          <a:xfrm>
            <a:off x="5563848" y="1709380"/>
            <a:ext cx="3281428" cy="4554156"/>
          </a:xfrm>
          <a:prstGeom prst="rect">
            <a:avLst/>
          </a:prstGeom>
        </p:spPr>
      </p:pic>
      <p:pic>
        <p:nvPicPr>
          <p:cNvPr id="14" name="Picture 14" descr="Qr code&#10;&#10;Description automatically generated">
            <a:extLst>
              <a:ext uri="{FF2B5EF4-FFF2-40B4-BE49-F238E27FC236}">
                <a16:creationId xmlns:a16="http://schemas.microsoft.com/office/drawing/2014/main" id="{30160C7C-72F1-AEC4-6C68-5824F9BC164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647383" y="1773350"/>
            <a:ext cx="3456353" cy="4283973"/>
          </a:xfrm>
          <a:prstGeom prst="rect">
            <a:avLst/>
          </a:prstGeom>
        </p:spPr>
      </p:pic>
    </p:spTree>
    <p:extLst>
      <p:ext uri="{BB962C8B-B14F-4D97-AF65-F5344CB8AC3E}">
        <p14:creationId xmlns:p14="http://schemas.microsoft.com/office/powerpoint/2010/main" val="32415549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FD775-8360-FDA4-8EBB-3A450225E257}"/>
              </a:ext>
            </a:extLst>
          </p:cNvPr>
          <p:cNvSpPr>
            <a:spLocks noGrp="1"/>
          </p:cNvSpPr>
          <p:nvPr>
            <p:ph type="title"/>
          </p:nvPr>
        </p:nvSpPr>
        <p:spPr>
          <a:xfrm>
            <a:off x="613942" y="199048"/>
            <a:ext cx="10986911" cy="902230"/>
          </a:xfrm>
          <a:noFill/>
        </p:spPr>
        <p:txBody>
          <a:bodyPr/>
          <a:lstStyle/>
          <a:p>
            <a:r>
              <a:rPr lang="en-US" dirty="0">
                <a:ea typeface="Lato Medium"/>
                <a:cs typeface="Lato Medium"/>
              </a:rPr>
              <a:t>PREM Survey Completion</a:t>
            </a:r>
            <a:endParaRPr lang="en-US" dirty="0"/>
          </a:p>
        </p:txBody>
      </p:sp>
      <p:graphicFrame>
        <p:nvGraphicFramePr>
          <p:cNvPr id="6" name="Table 6">
            <a:extLst>
              <a:ext uri="{FF2B5EF4-FFF2-40B4-BE49-F238E27FC236}">
                <a16:creationId xmlns:a16="http://schemas.microsoft.com/office/drawing/2014/main" id="{67022685-A57E-5F21-D732-EAE0237C9EE3}"/>
              </a:ext>
            </a:extLst>
          </p:cNvPr>
          <p:cNvGraphicFramePr>
            <a:graphicFrameLocks noGrp="1"/>
          </p:cNvGraphicFramePr>
          <p:nvPr>
            <p:ph idx="1"/>
            <p:extLst>
              <p:ext uri="{D42A27DB-BD31-4B8C-83A1-F6EECF244321}">
                <p14:modId xmlns:p14="http://schemas.microsoft.com/office/powerpoint/2010/main" val="1141682053"/>
              </p:ext>
            </p:extLst>
          </p:nvPr>
        </p:nvGraphicFramePr>
        <p:xfrm>
          <a:off x="609600" y="1107043"/>
          <a:ext cx="10972800" cy="5191749"/>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4104097565"/>
                    </a:ext>
                  </a:extLst>
                </a:gridCol>
                <a:gridCol w="2743200">
                  <a:extLst>
                    <a:ext uri="{9D8B030D-6E8A-4147-A177-3AD203B41FA5}">
                      <a16:colId xmlns:a16="http://schemas.microsoft.com/office/drawing/2014/main" val="4097604143"/>
                    </a:ext>
                  </a:extLst>
                </a:gridCol>
                <a:gridCol w="2743200">
                  <a:extLst>
                    <a:ext uri="{9D8B030D-6E8A-4147-A177-3AD203B41FA5}">
                      <a16:colId xmlns:a16="http://schemas.microsoft.com/office/drawing/2014/main" val="2886475675"/>
                    </a:ext>
                  </a:extLst>
                </a:gridCol>
                <a:gridCol w="2743200">
                  <a:extLst>
                    <a:ext uri="{9D8B030D-6E8A-4147-A177-3AD203B41FA5}">
                      <a16:colId xmlns:a16="http://schemas.microsoft.com/office/drawing/2014/main" val="211565507"/>
                    </a:ext>
                  </a:extLst>
                </a:gridCol>
              </a:tblGrid>
              <a:tr h="370840">
                <a:tc>
                  <a:txBody>
                    <a:bodyPr/>
                    <a:lstStyle/>
                    <a:p>
                      <a:endParaRPr lang="en-US"/>
                    </a:p>
                  </a:txBody>
                  <a:tcPr/>
                </a:tc>
                <a:tc>
                  <a:txBody>
                    <a:bodyPr/>
                    <a:lstStyle/>
                    <a:p>
                      <a:r>
                        <a:rPr lang="en-US" dirty="0"/>
                        <a:t># PREM Surveys Submitted</a:t>
                      </a:r>
                    </a:p>
                  </a:txBody>
                  <a:tcPr/>
                </a:tc>
                <a:tc>
                  <a:txBody>
                    <a:bodyPr/>
                    <a:lstStyle/>
                    <a:p>
                      <a:r>
                        <a:rPr lang="en-US" dirty="0"/>
                        <a:t># Hospitals</a:t>
                      </a:r>
                    </a:p>
                  </a:txBody>
                  <a:tcPr/>
                </a:tc>
                <a:tc>
                  <a:txBody>
                    <a:bodyPr/>
                    <a:lstStyle/>
                    <a:p>
                      <a:r>
                        <a:rPr lang="en-US" dirty="0"/>
                        <a:t>% Completion Rate</a:t>
                      </a:r>
                    </a:p>
                  </a:txBody>
                  <a:tcPr/>
                </a:tc>
                <a:extLst>
                  <a:ext uri="{0D108BD9-81ED-4DB2-BD59-A6C34878D82A}">
                    <a16:rowId xmlns:a16="http://schemas.microsoft.com/office/drawing/2014/main" val="2867820435"/>
                  </a:ext>
                </a:extLst>
              </a:tr>
              <a:tr h="370840">
                <a:tc>
                  <a:txBody>
                    <a:bodyPr/>
                    <a:lstStyle/>
                    <a:p>
                      <a:r>
                        <a:rPr lang="en-US" dirty="0"/>
                        <a:t>February 2022</a:t>
                      </a:r>
                    </a:p>
                  </a:txBody>
                  <a:tcPr/>
                </a:tc>
                <a:tc>
                  <a:txBody>
                    <a:bodyPr/>
                    <a:lstStyle/>
                    <a:p>
                      <a:r>
                        <a:rPr lang="en-US" dirty="0"/>
                        <a:t>3</a:t>
                      </a:r>
                    </a:p>
                  </a:txBody>
                  <a:tcPr/>
                </a:tc>
                <a:tc>
                  <a:txBody>
                    <a:bodyPr/>
                    <a:lstStyle/>
                    <a:p>
                      <a:r>
                        <a:rPr lang="en-US" dirty="0"/>
                        <a:t>1</a:t>
                      </a:r>
                    </a:p>
                  </a:txBody>
                  <a:tcPr/>
                </a:tc>
                <a:tc>
                  <a:txBody>
                    <a:bodyPr/>
                    <a:lstStyle/>
                    <a:p>
                      <a:r>
                        <a:rPr lang="en-US" dirty="0"/>
                        <a:t>13.3%</a:t>
                      </a:r>
                    </a:p>
                  </a:txBody>
                  <a:tcPr/>
                </a:tc>
                <a:extLst>
                  <a:ext uri="{0D108BD9-81ED-4DB2-BD59-A6C34878D82A}">
                    <a16:rowId xmlns:a16="http://schemas.microsoft.com/office/drawing/2014/main" val="1127794042"/>
                  </a:ext>
                </a:extLst>
              </a:tr>
              <a:tr h="370840">
                <a:tc>
                  <a:txBody>
                    <a:bodyPr/>
                    <a:lstStyle/>
                    <a:p>
                      <a:r>
                        <a:rPr lang="en-US" dirty="0"/>
                        <a:t>March 2022</a:t>
                      </a:r>
                    </a:p>
                  </a:txBody>
                  <a:tcPr/>
                </a:tc>
                <a:tc>
                  <a:txBody>
                    <a:bodyPr/>
                    <a:lstStyle/>
                    <a:p>
                      <a:r>
                        <a:rPr lang="en-US" dirty="0"/>
                        <a:t>14</a:t>
                      </a:r>
                    </a:p>
                  </a:txBody>
                  <a:tcPr/>
                </a:tc>
                <a:tc>
                  <a:txBody>
                    <a:bodyPr/>
                    <a:lstStyle/>
                    <a:p>
                      <a:r>
                        <a:rPr lang="en-US" dirty="0"/>
                        <a:t>1</a:t>
                      </a:r>
                    </a:p>
                  </a:txBody>
                  <a:tcPr/>
                </a:tc>
                <a:tc>
                  <a:txBody>
                    <a:bodyPr/>
                    <a:lstStyle/>
                    <a:p>
                      <a:r>
                        <a:rPr lang="en-US" dirty="0"/>
                        <a:t>44.1%</a:t>
                      </a:r>
                    </a:p>
                  </a:txBody>
                  <a:tcPr/>
                </a:tc>
                <a:extLst>
                  <a:ext uri="{0D108BD9-81ED-4DB2-BD59-A6C34878D82A}">
                    <a16:rowId xmlns:a16="http://schemas.microsoft.com/office/drawing/2014/main" val="867957447"/>
                  </a:ext>
                </a:extLst>
              </a:tr>
              <a:tr h="370840">
                <a:tc>
                  <a:txBody>
                    <a:bodyPr/>
                    <a:lstStyle/>
                    <a:p>
                      <a:r>
                        <a:rPr lang="en-US" dirty="0"/>
                        <a:t>April 2022</a:t>
                      </a:r>
                    </a:p>
                  </a:txBody>
                  <a:tcPr/>
                </a:tc>
                <a:tc>
                  <a:txBody>
                    <a:bodyPr/>
                    <a:lstStyle/>
                    <a:p>
                      <a:r>
                        <a:rPr lang="en-US" dirty="0"/>
                        <a:t>53</a:t>
                      </a:r>
                    </a:p>
                  </a:txBody>
                  <a:tcPr/>
                </a:tc>
                <a:tc>
                  <a:txBody>
                    <a:bodyPr/>
                    <a:lstStyle/>
                    <a:p>
                      <a:r>
                        <a:rPr lang="en-US" dirty="0"/>
                        <a:t>5</a:t>
                      </a:r>
                    </a:p>
                  </a:txBody>
                  <a:tcPr/>
                </a:tc>
                <a:tc>
                  <a:txBody>
                    <a:bodyPr/>
                    <a:lstStyle/>
                    <a:p>
                      <a:r>
                        <a:rPr lang="en-US" dirty="0"/>
                        <a:t>17.5%</a:t>
                      </a:r>
                    </a:p>
                  </a:txBody>
                  <a:tcPr/>
                </a:tc>
                <a:extLst>
                  <a:ext uri="{0D108BD9-81ED-4DB2-BD59-A6C34878D82A}">
                    <a16:rowId xmlns:a16="http://schemas.microsoft.com/office/drawing/2014/main" val="2156651373"/>
                  </a:ext>
                </a:extLst>
              </a:tr>
              <a:tr h="370840">
                <a:tc>
                  <a:txBody>
                    <a:bodyPr/>
                    <a:lstStyle/>
                    <a:p>
                      <a:r>
                        <a:rPr lang="en-US" dirty="0"/>
                        <a:t>May 2022</a:t>
                      </a:r>
                    </a:p>
                  </a:txBody>
                  <a:tcPr/>
                </a:tc>
                <a:tc>
                  <a:txBody>
                    <a:bodyPr/>
                    <a:lstStyle/>
                    <a:p>
                      <a:r>
                        <a:rPr lang="en-US" dirty="0"/>
                        <a:t>47</a:t>
                      </a:r>
                    </a:p>
                  </a:txBody>
                  <a:tcPr/>
                </a:tc>
                <a:tc>
                  <a:txBody>
                    <a:bodyPr/>
                    <a:lstStyle/>
                    <a:p>
                      <a:r>
                        <a:rPr lang="en-US" dirty="0"/>
                        <a:t>8</a:t>
                      </a:r>
                    </a:p>
                  </a:txBody>
                  <a:tcPr/>
                </a:tc>
                <a:tc>
                  <a:txBody>
                    <a:bodyPr/>
                    <a:lstStyle/>
                    <a:p>
                      <a:r>
                        <a:rPr lang="en-US" dirty="0"/>
                        <a:t>11.5%</a:t>
                      </a:r>
                    </a:p>
                  </a:txBody>
                  <a:tcPr/>
                </a:tc>
                <a:extLst>
                  <a:ext uri="{0D108BD9-81ED-4DB2-BD59-A6C34878D82A}">
                    <a16:rowId xmlns:a16="http://schemas.microsoft.com/office/drawing/2014/main" val="4179372162"/>
                  </a:ext>
                </a:extLst>
              </a:tr>
              <a:tr h="370840">
                <a:tc>
                  <a:txBody>
                    <a:bodyPr/>
                    <a:lstStyle/>
                    <a:p>
                      <a:r>
                        <a:rPr lang="en-US" dirty="0"/>
                        <a:t>June 2022</a:t>
                      </a:r>
                    </a:p>
                  </a:txBody>
                  <a:tcPr/>
                </a:tc>
                <a:tc>
                  <a:txBody>
                    <a:bodyPr/>
                    <a:lstStyle/>
                    <a:p>
                      <a:r>
                        <a:rPr lang="en-US" dirty="0"/>
                        <a:t>54</a:t>
                      </a:r>
                    </a:p>
                  </a:txBody>
                  <a:tcPr/>
                </a:tc>
                <a:tc>
                  <a:txBody>
                    <a:bodyPr/>
                    <a:lstStyle/>
                    <a:p>
                      <a:r>
                        <a:rPr lang="en-US" dirty="0"/>
                        <a:t>11</a:t>
                      </a:r>
                    </a:p>
                  </a:txBody>
                  <a:tcPr/>
                </a:tc>
                <a:tc>
                  <a:txBody>
                    <a:bodyPr/>
                    <a:lstStyle/>
                    <a:p>
                      <a:r>
                        <a:rPr lang="en-US" dirty="0"/>
                        <a:t>9.12%</a:t>
                      </a:r>
                    </a:p>
                  </a:txBody>
                  <a:tcPr/>
                </a:tc>
                <a:extLst>
                  <a:ext uri="{0D108BD9-81ED-4DB2-BD59-A6C34878D82A}">
                    <a16:rowId xmlns:a16="http://schemas.microsoft.com/office/drawing/2014/main" val="1709026568"/>
                  </a:ext>
                </a:extLst>
              </a:tr>
              <a:tr h="370840">
                <a:tc>
                  <a:txBody>
                    <a:bodyPr/>
                    <a:lstStyle/>
                    <a:p>
                      <a:r>
                        <a:rPr lang="en-US" dirty="0"/>
                        <a:t>July 2022</a:t>
                      </a:r>
                    </a:p>
                  </a:txBody>
                  <a:tcPr/>
                </a:tc>
                <a:tc>
                  <a:txBody>
                    <a:bodyPr/>
                    <a:lstStyle/>
                    <a:p>
                      <a:r>
                        <a:rPr lang="en-US" dirty="0"/>
                        <a:t>85</a:t>
                      </a:r>
                    </a:p>
                  </a:txBody>
                  <a:tcPr/>
                </a:tc>
                <a:tc>
                  <a:txBody>
                    <a:bodyPr/>
                    <a:lstStyle/>
                    <a:p>
                      <a:r>
                        <a:rPr lang="en-US" dirty="0"/>
                        <a:t>18</a:t>
                      </a:r>
                    </a:p>
                  </a:txBody>
                  <a:tcPr/>
                </a:tc>
                <a:tc>
                  <a:txBody>
                    <a:bodyPr/>
                    <a:lstStyle/>
                    <a:p>
                      <a:r>
                        <a:rPr lang="en-US" dirty="0"/>
                        <a:t>7.6%</a:t>
                      </a:r>
                    </a:p>
                  </a:txBody>
                  <a:tcPr/>
                </a:tc>
                <a:extLst>
                  <a:ext uri="{0D108BD9-81ED-4DB2-BD59-A6C34878D82A}">
                    <a16:rowId xmlns:a16="http://schemas.microsoft.com/office/drawing/2014/main" val="1471364599"/>
                  </a:ext>
                </a:extLst>
              </a:tr>
              <a:tr h="370840">
                <a:tc>
                  <a:txBody>
                    <a:bodyPr/>
                    <a:lstStyle/>
                    <a:p>
                      <a:r>
                        <a:rPr lang="en-US" dirty="0"/>
                        <a:t>August 2022</a:t>
                      </a:r>
                    </a:p>
                  </a:txBody>
                  <a:tcPr/>
                </a:tc>
                <a:tc>
                  <a:txBody>
                    <a:bodyPr/>
                    <a:lstStyle/>
                    <a:p>
                      <a:r>
                        <a:rPr lang="en-US" dirty="0"/>
                        <a:t>109</a:t>
                      </a:r>
                    </a:p>
                  </a:txBody>
                  <a:tcPr/>
                </a:tc>
                <a:tc>
                  <a:txBody>
                    <a:bodyPr/>
                    <a:lstStyle/>
                    <a:p>
                      <a:r>
                        <a:rPr lang="en-US" dirty="0"/>
                        <a:t>18</a:t>
                      </a:r>
                    </a:p>
                  </a:txBody>
                  <a:tcPr/>
                </a:tc>
                <a:tc>
                  <a:txBody>
                    <a:bodyPr/>
                    <a:lstStyle/>
                    <a:p>
                      <a:r>
                        <a:rPr lang="en-US" dirty="0"/>
                        <a:t>8.1%</a:t>
                      </a:r>
                    </a:p>
                  </a:txBody>
                  <a:tcPr/>
                </a:tc>
                <a:extLst>
                  <a:ext uri="{0D108BD9-81ED-4DB2-BD59-A6C34878D82A}">
                    <a16:rowId xmlns:a16="http://schemas.microsoft.com/office/drawing/2014/main" val="4073333416"/>
                  </a:ext>
                </a:extLst>
              </a:tr>
              <a:tr h="370839">
                <a:tc>
                  <a:txBody>
                    <a:bodyPr/>
                    <a:lstStyle/>
                    <a:p>
                      <a:pPr lvl="0">
                        <a:buNone/>
                      </a:pPr>
                      <a:r>
                        <a:rPr lang="en-US" dirty="0"/>
                        <a:t>September 2022</a:t>
                      </a:r>
                    </a:p>
                  </a:txBody>
                  <a:tcPr/>
                </a:tc>
                <a:tc>
                  <a:txBody>
                    <a:bodyPr/>
                    <a:lstStyle/>
                    <a:p>
                      <a:pPr lvl="0">
                        <a:buNone/>
                      </a:pPr>
                      <a:r>
                        <a:rPr lang="en-US" dirty="0"/>
                        <a:t>127</a:t>
                      </a:r>
                    </a:p>
                  </a:txBody>
                  <a:tcPr/>
                </a:tc>
                <a:tc>
                  <a:txBody>
                    <a:bodyPr/>
                    <a:lstStyle/>
                    <a:p>
                      <a:pPr lvl="0">
                        <a:buNone/>
                      </a:pPr>
                      <a:r>
                        <a:rPr lang="en-US" dirty="0"/>
                        <a:t>18</a:t>
                      </a:r>
                    </a:p>
                  </a:txBody>
                  <a:tcPr/>
                </a:tc>
                <a:tc>
                  <a:txBody>
                    <a:bodyPr/>
                    <a:lstStyle/>
                    <a:p>
                      <a:pPr lvl="0">
                        <a:buNone/>
                      </a:pPr>
                      <a:r>
                        <a:rPr lang="en-US" dirty="0"/>
                        <a:t>11.9%</a:t>
                      </a:r>
                    </a:p>
                  </a:txBody>
                  <a:tcPr/>
                </a:tc>
                <a:extLst>
                  <a:ext uri="{0D108BD9-81ED-4DB2-BD59-A6C34878D82A}">
                    <a16:rowId xmlns:a16="http://schemas.microsoft.com/office/drawing/2014/main" val="4146944798"/>
                  </a:ext>
                </a:extLst>
              </a:tr>
              <a:tr h="370838">
                <a:tc>
                  <a:txBody>
                    <a:bodyPr/>
                    <a:lstStyle/>
                    <a:p>
                      <a:pPr lvl="0">
                        <a:buNone/>
                      </a:pPr>
                      <a:r>
                        <a:rPr lang="en-US" dirty="0"/>
                        <a:t>October 2022</a:t>
                      </a:r>
                    </a:p>
                  </a:txBody>
                  <a:tcPr/>
                </a:tc>
                <a:tc>
                  <a:txBody>
                    <a:bodyPr/>
                    <a:lstStyle/>
                    <a:p>
                      <a:pPr lvl="0">
                        <a:buNone/>
                      </a:pPr>
                      <a:r>
                        <a:rPr lang="en-US" dirty="0"/>
                        <a:t>175</a:t>
                      </a:r>
                    </a:p>
                  </a:txBody>
                  <a:tcPr/>
                </a:tc>
                <a:tc>
                  <a:txBody>
                    <a:bodyPr/>
                    <a:lstStyle/>
                    <a:p>
                      <a:pPr lvl="0">
                        <a:buNone/>
                      </a:pPr>
                      <a:r>
                        <a:rPr lang="en-US" dirty="0"/>
                        <a:t>25</a:t>
                      </a:r>
                    </a:p>
                  </a:txBody>
                  <a:tcPr/>
                </a:tc>
                <a:tc>
                  <a:txBody>
                    <a:bodyPr/>
                    <a:lstStyle/>
                    <a:p>
                      <a:pPr lvl="0">
                        <a:buNone/>
                      </a:pPr>
                      <a:r>
                        <a:rPr lang="en-US" dirty="0"/>
                        <a:t>10.9%</a:t>
                      </a:r>
                    </a:p>
                  </a:txBody>
                  <a:tcPr/>
                </a:tc>
                <a:extLst>
                  <a:ext uri="{0D108BD9-81ED-4DB2-BD59-A6C34878D82A}">
                    <a16:rowId xmlns:a16="http://schemas.microsoft.com/office/drawing/2014/main" val="4194677444"/>
                  </a:ext>
                </a:extLst>
              </a:tr>
              <a:tr h="370838">
                <a:tc>
                  <a:txBody>
                    <a:bodyPr/>
                    <a:lstStyle/>
                    <a:p>
                      <a:pPr lvl="0">
                        <a:buNone/>
                      </a:pPr>
                      <a:r>
                        <a:rPr lang="en-US" dirty="0"/>
                        <a:t>November 2022</a:t>
                      </a:r>
                    </a:p>
                  </a:txBody>
                  <a:tcPr/>
                </a:tc>
                <a:tc>
                  <a:txBody>
                    <a:bodyPr/>
                    <a:lstStyle/>
                    <a:p>
                      <a:pPr lvl="0">
                        <a:buNone/>
                      </a:pPr>
                      <a:r>
                        <a:rPr lang="en-US" dirty="0"/>
                        <a:t>217</a:t>
                      </a:r>
                    </a:p>
                  </a:txBody>
                  <a:tcPr/>
                </a:tc>
                <a:tc>
                  <a:txBody>
                    <a:bodyPr/>
                    <a:lstStyle/>
                    <a:p>
                      <a:pPr lvl="0">
                        <a:buNone/>
                      </a:pPr>
                      <a:r>
                        <a:rPr lang="en-US" dirty="0"/>
                        <a:t>23</a:t>
                      </a:r>
                    </a:p>
                  </a:txBody>
                  <a:tcPr/>
                </a:tc>
                <a:tc>
                  <a:txBody>
                    <a:bodyPr/>
                    <a:lstStyle/>
                    <a:p>
                      <a:pPr lvl="0">
                        <a:buNone/>
                      </a:pPr>
                      <a:r>
                        <a:rPr lang="en-US" dirty="0"/>
                        <a:t>16.2%</a:t>
                      </a:r>
                    </a:p>
                  </a:txBody>
                  <a:tcPr/>
                </a:tc>
                <a:extLst>
                  <a:ext uri="{0D108BD9-81ED-4DB2-BD59-A6C34878D82A}">
                    <a16:rowId xmlns:a16="http://schemas.microsoft.com/office/drawing/2014/main" val="1108496973"/>
                  </a:ext>
                </a:extLst>
              </a:tr>
              <a:tr h="370838">
                <a:tc>
                  <a:txBody>
                    <a:bodyPr/>
                    <a:lstStyle/>
                    <a:p>
                      <a:pPr lvl="0">
                        <a:buNone/>
                      </a:pPr>
                      <a:r>
                        <a:rPr lang="en-US" dirty="0"/>
                        <a:t>December 2022</a:t>
                      </a:r>
                    </a:p>
                  </a:txBody>
                  <a:tcPr/>
                </a:tc>
                <a:tc>
                  <a:txBody>
                    <a:bodyPr/>
                    <a:lstStyle/>
                    <a:p>
                      <a:pPr lvl="0">
                        <a:buNone/>
                      </a:pPr>
                      <a:r>
                        <a:rPr lang="en-US" dirty="0"/>
                        <a:t>290</a:t>
                      </a:r>
                    </a:p>
                  </a:txBody>
                  <a:tcPr/>
                </a:tc>
                <a:tc>
                  <a:txBody>
                    <a:bodyPr/>
                    <a:lstStyle/>
                    <a:p>
                      <a:pPr lvl="0">
                        <a:buNone/>
                      </a:pPr>
                      <a:r>
                        <a:rPr lang="en-US" dirty="0"/>
                        <a:t>23</a:t>
                      </a:r>
                    </a:p>
                  </a:txBody>
                  <a:tcPr/>
                </a:tc>
                <a:tc>
                  <a:txBody>
                    <a:bodyPr/>
                    <a:lstStyle/>
                    <a:p>
                      <a:pPr lvl="0">
                        <a:buNone/>
                      </a:pPr>
                      <a:r>
                        <a:rPr lang="en-US" dirty="0"/>
                        <a:t>20.7%</a:t>
                      </a:r>
                    </a:p>
                  </a:txBody>
                  <a:tcPr/>
                </a:tc>
                <a:extLst>
                  <a:ext uri="{0D108BD9-81ED-4DB2-BD59-A6C34878D82A}">
                    <a16:rowId xmlns:a16="http://schemas.microsoft.com/office/drawing/2014/main" val="2966849759"/>
                  </a:ext>
                </a:extLst>
              </a:tr>
              <a:tr h="370838">
                <a:tc>
                  <a:txBody>
                    <a:bodyPr/>
                    <a:lstStyle/>
                    <a:p>
                      <a:pPr lvl="0">
                        <a:buNone/>
                      </a:pPr>
                      <a:r>
                        <a:rPr lang="en-US" dirty="0"/>
                        <a:t>January 2023</a:t>
                      </a:r>
                    </a:p>
                  </a:txBody>
                  <a:tcPr/>
                </a:tc>
                <a:tc>
                  <a:txBody>
                    <a:bodyPr/>
                    <a:lstStyle/>
                    <a:p>
                      <a:pPr lvl="0">
                        <a:buNone/>
                      </a:pPr>
                      <a:r>
                        <a:rPr lang="en-US" dirty="0"/>
                        <a:t>284</a:t>
                      </a:r>
                    </a:p>
                  </a:txBody>
                  <a:tcPr/>
                </a:tc>
                <a:tc>
                  <a:txBody>
                    <a:bodyPr/>
                    <a:lstStyle/>
                    <a:p>
                      <a:pPr lvl="0">
                        <a:buNone/>
                      </a:pPr>
                      <a:r>
                        <a:rPr lang="en-US" dirty="0"/>
                        <a:t>27</a:t>
                      </a:r>
                    </a:p>
                  </a:txBody>
                  <a:tcPr/>
                </a:tc>
                <a:tc>
                  <a:txBody>
                    <a:bodyPr/>
                    <a:lstStyle/>
                    <a:p>
                      <a:pPr lvl="0">
                        <a:buNone/>
                      </a:pPr>
                      <a:r>
                        <a:rPr lang="en-US" dirty="0"/>
                        <a:t>21.4%</a:t>
                      </a:r>
                    </a:p>
                  </a:txBody>
                  <a:tcPr/>
                </a:tc>
                <a:extLst>
                  <a:ext uri="{0D108BD9-81ED-4DB2-BD59-A6C34878D82A}">
                    <a16:rowId xmlns:a16="http://schemas.microsoft.com/office/drawing/2014/main" val="403151622"/>
                  </a:ext>
                </a:extLst>
              </a:tr>
              <a:tr h="370838">
                <a:tc>
                  <a:txBody>
                    <a:bodyPr/>
                    <a:lstStyle/>
                    <a:p>
                      <a:pPr lvl="0">
                        <a:buNone/>
                      </a:pPr>
                      <a:r>
                        <a:rPr lang="en-US" dirty="0"/>
                        <a:t>February 2023</a:t>
                      </a:r>
                    </a:p>
                  </a:txBody>
                  <a:tcPr/>
                </a:tc>
                <a:tc>
                  <a:txBody>
                    <a:bodyPr/>
                    <a:lstStyle/>
                    <a:p>
                      <a:pPr lvl="0">
                        <a:buNone/>
                      </a:pPr>
                      <a:r>
                        <a:rPr lang="en-US" dirty="0"/>
                        <a:t>315</a:t>
                      </a:r>
                    </a:p>
                  </a:txBody>
                  <a:tcPr/>
                </a:tc>
                <a:tc>
                  <a:txBody>
                    <a:bodyPr/>
                    <a:lstStyle/>
                    <a:p>
                      <a:pPr lvl="0">
                        <a:buNone/>
                      </a:pPr>
                      <a:r>
                        <a:rPr lang="en-US" dirty="0"/>
                        <a:t>30</a:t>
                      </a:r>
                    </a:p>
                  </a:txBody>
                  <a:tcPr/>
                </a:tc>
                <a:tc>
                  <a:txBody>
                    <a:bodyPr/>
                    <a:lstStyle/>
                    <a:p>
                      <a:pPr lvl="0">
                        <a:buNone/>
                      </a:pPr>
                      <a:r>
                        <a:rPr lang="en-US" dirty="0"/>
                        <a:t>22.1%</a:t>
                      </a:r>
                    </a:p>
                  </a:txBody>
                  <a:tcPr/>
                </a:tc>
                <a:extLst>
                  <a:ext uri="{0D108BD9-81ED-4DB2-BD59-A6C34878D82A}">
                    <a16:rowId xmlns:a16="http://schemas.microsoft.com/office/drawing/2014/main" val="1573891634"/>
                  </a:ext>
                </a:extLst>
              </a:tr>
            </a:tbl>
          </a:graphicData>
        </a:graphic>
      </p:graphicFrame>
      <p:sp>
        <p:nvSpPr>
          <p:cNvPr id="4" name="Slide Number Placeholder 3">
            <a:extLst>
              <a:ext uri="{FF2B5EF4-FFF2-40B4-BE49-F238E27FC236}">
                <a16:creationId xmlns:a16="http://schemas.microsoft.com/office/drawing/2014/main" id="{5AB893A5-0922-1E26-C876-55F5183AAC85}"/>
              </a:ext>
            </a:extLst>
          </p:cNvPr>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a:extLst>
              <a:ext uri="{FF2B5EF4-FFF2-40B4-BE49-F238E27FC236}">
                <a16:creationId xmlns:a16="http://schemas.microsoft.com/office/drawing/2014/main" id="{F3E04709-D66D-F033-2EF1-98247D2230D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36243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BF9F6-D31D-0F40-7B9C-9C34C3831A0E}"/>
              </a:ext>
            </a:extLst>
          </p:cNvPr>
          <p:cNvSpPr>
            <a:spLocks noGrp="1"/>
          </p:cNvSpPr>
          <p:nvPr>
            <p:ph type="title"/>
          </p:nvPr>
        </p:nvSpPr>
        <p:spPr>
          <a:xfrm>
            <a:off x="482600" y="179510"/>
            <a:ext cx="6988629" cy="1347334"/>
          </a:xfrm>
          <a:noFill/>
        </p:spPr>
        <p:txBody>
          <a:bodyPr/>
          <a:lstStyle/>
          <a:p>
            <a:r>
              <a:rPr lang="en-US" sz="3200">
                <a:ea typeface="Lato Medium"/>
                <a:cs typeface="Lato Medium"/>
              </a:rPr>
              <a:t>Summary of PREM Survey Completion: Demographic Breakdown </a:t>
            </a:r>
            <a:endParaRPr lang="en-US" sz="3200"/>
          </a:p>
        </p:txBody>
      </p:sp>
      <p:sp>
        <p:nvSpPr>
          <p:cNvPr id="3" name="Content Placeholder 2">
            <a:extLst>
              <a:ext uri="{FF2B5EF4-FFF2-40B4-BE49-F238E27FC236}">
                <a16:creationId xmlns:a16="http://schemas.microsoft.com/office/drawing/2014/main" id="{B8D10F47-C59B-9F2F-B09E-541CEAD0FB91}"/>
              </a:ext>
            </a:extLst>
          </p:cNvPr>
          <p:cNvSpPr>
            <a:spLocks noGrp="1"/>
          </p:cNvSpPr>
          <p:nvPr>
            <p:ph idx="1"/>
          </p:nvPr>
        </p:nvSpPr>
        <p:spPr>
          <a:xfrm>
            <a:off x="609600" y="1629682"/>
            <a:ext cx="10972800" cy="4351338"/>
          </a:xfrm>
        </p:spPr>
        <p:txBody>
          <a:bodyPr vert="horz" lIns="91440" tIns="45720" rIns="91440" bIns="45720" rtlCol="0" anchor="t">
            <a:noAutofit/>
          </a:bodyPr>
          <a:lstStyle/>
          <a:p>
            <a:r>
              <a:rPr lang="en-US" dirty="0">
                <a:ea typeface="Lato"/>
                <a:cs typeface="Lato"/>
              </a:rPr>
              <a:t>Race / Ethnicity</a:t>
            </a:r>
          </a:p>
          <a:p>
            <a:pPr lvl="1"/>
            <a:r>
              <a:rPr lang="en-US" sz="2400" dirty="0">
                <a:ea typeface="Lato"/>
                <a:cs typeface="Calibri"/>
              </a:rPr>
              <a:t>17% of survey respondents reported as </a:t>
            </a:r>
            <a:r>
              <a:rPr lang="en-US" sz="2400" b="1" dirty="0">
                <a:ea typeface="Lato"/>
                <a:cs typeface="Calibri"/>
              </a:rPr>
              <a:t>Hispanic</a:t>
            </a:r>
            <a:endParaRPr lang="en-US" sz="2400" dirty="0">
              <a:ea typeface="Lato"/>
              <a:cs typeface="Lato"/>
            </a:endParaRPr>
          </a:p>
          <a:p>
            <a:pPr lvl="1"/>
            <a:r>
              <a:rPr lang="en-US" sz="2400" dirty="0">
                <a:ea typeface="Lato"/>
                <a:cs typeface="Lato"/>
              </a:rPr>
              <a:t>19% of survey respondents reported  as </a:t>
            </a:r>
            <a:r>
              <a:rPr lang="en-US" sz="2400" b="1" dirty="0">
                <a:ea typeface="Lato"/>
                <a:cs typeface="Lato"/>
              </a:rPr>
              <a:t>Black</a:t>
            </a:r>
          </a:p>
          <a:p>
            <a:pPr lvl="1">
              <a:buClr>
                <a:srgbClr val="1C498B"/>
              </a:buClr>
            </a:pPr>
            <a:r>
              <a:rPr lang="en-US" sz="2400" dirty="0">
                <a:ea typeface="Lato"/>
                <a:cs typeface="Lato"/>
              </a:rPr>
              <a:t>49% of survey respondents reported  as</a:t>
            </a:r>
            <a:r>
              <a:rPr lang="en-US" sz="2400" b="1" dirty="0">
                <a:ea typeface="Lato"/>
                <a:cs typeface="Lato"/>
              </a:rPr>
              <a:t> White</a:t>
            </a:r>
          </a:p>
          <a:p>
            <a:pPr>
              <a:buClr>
                <a:srgbClr val="F5668F"/>
              </a:buClr>
            </a:pPr>
            <a:r>
              <a:rPr lang="en-US" dirty="0">
                <a:ea typeface="Lato"/>
                <a:cs typeface="Lato"/>
              </a:rPr>
              <a:t>Insurance</a:t>
            </a:r>
          </a:p>
          <a:p>
            <a:pPr lvl="1"/>
            <a:r>
              <a:rPr lang="en-US" sz="2400" dirty="0">
                <a:ea typeface="Lato"/>
                <a:cs typeface="Lato"/>
              </a:rPr>
              <a:t>49% of survey respondents have </a:t>
            </a:r>
            <a:r>
              <a:rPr lang="en-US" sz="2400" b="1" dirty="0">
                <a:ea typeface="Lato"/>
                <a:cs typeface="Lato"/>
              </a:rPr>
              <a:t>private insurance</a:t>
            </a:r>
          </a:p>
          <a:p>
            <a:pPr lvl="1"/>
            <a:r>
              <a:rPr lang="en-US" sz="2400" dirty="0">
                <a:ea typeface="Lato"/>
                <a:cs typeface="Lato"/>
              </a:rPr>
              <a:t>40% of survey respondents have </a:t>
            </a:r>
            <a:r>
              <a:rPr lang="en-US" sz="2400" b="1" dirty="0">
                <a:ea typeface="Lato"/>
                <a:cs typeface="Lato"/>
              </a:rPr>
              <a:t>public insurance</a:t>
            </a:r>
            <a:endParaRPr lang="en-US" sz="2400" b="1" dirty="0"/>
          </a:p>
          <a:p>
            <a:pPr lvl="1"/>
            <a:endParaRPr lang="en-US"/>
          </a:p>
          <a:p>
            <a:pPr lvl="1"/>
            <a:endParaRPr lang="en-US"/>
          </a:p>
          <a:p>
            <a:pPr lvl="1"/>
            <a:endParaRPr lang="en-US"/>
          </a:p>
          <a:p>
            <a:pPr lvl="1"/>
            <a:endParaRPr lang="en-US"/>
          </a:p>
        </p:txBody>
      </p:sp>
      <p:sp>
        <p:nvSpPr>
          <p:cNvPr id="4" name="Slide Number Placeholder 3">
            <a:extLst>
              <a:ext uri="{FF2B5EF4-FFF2-40B4-BE49-F238E27FC236}">
                <a16:creationId xmlns:a16="http://schemas.microsoft.com/office/drawing/2014/main" id="{24D19FD0-829E-DB70-3C52-505DAB630E04}"/>
              </a:ext>
            </a:extLst>
          </p:cNvPr>
          <p:cNvSpPr>
            <a:spLocks noGrp="1"/>
          </p:cNvSpPr>
          <p:nvPr>
            <p:ph type="sldNum" sz="quarter" idx="10"/>
          </p:nvPr>
        </p:nvSpPr>
        <p:spPr/>
        <p:txBody>
          <a:bodyPr/>
          <a:lstStyle/>
          <a:p>
            <a:fld id="{97033E4B-E3EB-3D46-B2D8-3159663620FA}" type="slidenum">
              <a:rPr lang="en-US" smtClean="0"/>
              <a:pPr/>
              <a:t>23</a:t>
            </a:fld>
            <a:endParaRPr lang="en-US"/>
          </a:p>
        </p:txBody>
      </p:sp>
      <p:sp>
        <p:nvSpPr>
          <p:cNvPr id="5" name="Footer Placeholder 4">
            <a:extLst>
              <a:ext uri="{FF2B5EF4-FFF2-40B4-BE49-F238E27FC236}">
                <a16:creationId xmlns:a16="http://schemas.microsoft.com/office/drawing/2014/main" id="{891DDFCF-670D-963D-CF94-DC588E96B1AD}"/>
              </a:ext>
            </a:extLst>
          </p:cNvPr>
          <p:cNvSpPr>
            <a:spLocks noGrp="1"/>
          </p:cNvSpPr>
          <p:nvPr>
            <p:ph type="ftr" sz="quarter" idx="11"/>
          </p:nvPr>
        </p:nvSpPr>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5EE105D2-41EF-739F-50F0-5444CAE0C80C}"/>
              </a:ext>
            </a:extLst>
          </p:cNvPr>
          <p:cNvSpPr/>
          <p:nvPr/>
        </p:nvSpPr>
        <p:spPr>
          <a:xfrm>
            <a:off x="8296814" y="1999172"/>
            <a:ext cx="3464943" cy="33499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200000"/>
              </a:lnSpc>
            </a:pPr>
            <a:r>
              <a:rPr lang="en-US" sz="3000" dirty="0">
                <a:cs typeface="Calibri"/>
              </a:rPr>
              <a:t>Total PREM surveys: </a:t>
            </a:r>
            <a:endParaRPr lang="en-US" dirty="0"/>
          </a:p>
          <a:p>
            <a:pPr algn="ctr">
              <a:lnSpc>
                <a:spcPct val="200000"/>
              </a:lnSpc>
            </a:pPr>
            <a:r>
              <a:rPr lang="en-US" sz="3600" dirty="0">
                <a:cs typeface="Calibri"/>
              </a:rPr>
              <a:t>n =2,398 </a:t>
            </a:r>
          </a:p>
        </p:txBody>
      </p:sp>
      <p:pic>
        <p:nvPicPr>
          <p:cNvPr id="9" name="Graphic 9" descr="Cheers outline">
            <a:extLst>
              <a:ext uri="{FF2B5EF4-FFF2-40B4-BE49-F238E27FC236}">
                <a16:creationId xmlns:a16="http://schemas.microsoft.com/office/drawing/2014/main" id="{773DBA11-25A0-7247-F5D7-2E50CEA43B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63819" y="5444706"/>
            <a:ext cx="914400" cy="914400"/>
          </a:xfrm>
          <a:prstGeom prst="rect">
            <a:avLst/>
          </a:prstGeom>
        </p:spPr>
      </p:pic>
      <p:pic>
        <p:nvPicPr>
          <p:cNvPr id="10" name="Graphic 10" descr="Fireworks with solid fill">
            <a:extLst>
              <a:ext uri="{FF2B5EF4-FFF2-40B4-BE49-F238E27FC236}">
                <a16:creationId xmlns:a16="http://schemas.microsoft.com/office/drawing/2014/main" id="{6153D764-E819-BA07-5856-12ED5468FC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24800" y="1720970"/>
            <a:ext cx="914400" cy="914400"/>
          </a:xfrm>
          <a:prstGeom prst="rect">
            <a:avLst/>
          </a:prstGeom>
        </p:spPr>
      </p:pic>
      <p:pic>
        <p:nvPicPr>
          <p:cNvPr id="11" name="Graphic 10" descr="Fireworks with solid fill">
            <a:extLst>
              <a:ext uri="{FF2B5EF4-FFF2-40B4-BE49-F238E27FC236}">
                <a16:creationId xmlns:a16="http://schemas.microsoft.com/office/drawing/2014/main" id="{92177152-4FE9-8AB1-0C10-2BC85902B2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74724" y="1720969"/>
            <a:ext cx="914400" cy="914400"/>
          </a:xfrm>
          <a:prstGeom prst="rect">
            <a:avLst/>
          </a:prstGeom>
        </p:spPr>
      </p:pic>
    </p:spTree>
    <p:extLst>
      <p:ext uri="{BB962C8B-B14F-4D97-AF65-F5344CB8AC3E}">
        <p14:creationId xmlns:p14="http://schemas.microsoft.com/office/powerpoint/2010/main" val="12685905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E93A1-93F4-4D34-8B73-7AFA9DCCF62C}"/>
              </a:ext>
            </a:extLst>
          </p:cNvPr>
          <p:cNvSpPr>
            <a:spLocks noGrp="1"/>
          </p:cNvSpPr>
          <p:nvPr>
            <p:ph type="title"/>
          </p:nvPr>
        </p:nvSpPr>
        <p:spPr>
          <a:xfrm>
            <a:off x="446314" y="410368"/>
            <a:ext cx="10972800" cy="1325563"/>
          </a:xfrm>
        </p:spPr>
        <p:txBody>
          <a:bodyPr/>
          <a:lstStyle/>
          <a:p>
            <a:r>
              <a:rPr lang="en-US" dirty="0">
                <a:ea typeface="Lato Medium"/>
                <a:cs typeface="Lato Medium"/>
              </a:rPr>
              <a:t>Summary of PREM data: By Race/Ethnicity</a:t>
            </a:r>
          </a:p>
        </p:txBody>
      </p:sp>
      <p:sp>
        <p:nvSpPr>
          <p:cNvPr id="3" name="Content Placeholder 2">
            <a:extLst>
              <a:ext uri="{FF2B5EF4-FFF2-40B4-BE49-F238E27FC236}">
                <a16:creationId xmlns:a16="http://schemas.microsoft.com/office/drawing/2014/main" id="{C13AEF27-84A3-4C8F-AADA-6DA6F2EC177A}"/>
              </a:ext>
            </a:extLst>
          </p:cNvPr>
          <p:cNvSpPr>
            <a:spLocks noGrp="1"/>
          </p:cNvSpPr>
          <p:nvPr>
            <p:ph idx="1"/>
          </p:nvPr>
        </p:nvSpPr>
        <p:spPr>
          <a:xfrm>
            <a:off x="599831" y="1972163"/>
            <a:ext cx="10972800" cy="4351338"/>
          </a:xfrm>
        </p:spPr>
        <p:txBody>
          <a:bodyPr vert="horz" lIns="91440" tIns="45720" rIns="91440" bIns="45720" rtlCol="0" anchor="t">
            <a:noAutofit/>
          </a:bodyPr>
          <a:lstStyle/>
          <a:p>
            <a:r>
              <a:rPr lang="en-US" dirty="0">
                <a:ea typeface="Lato"/>
                <a:cs typeface="Lato"/>
              </a:rPr>
              <a:t>94% of patients of color felt they were treated with respect during L&amp;D stay vs 97% of white patients (5% of BIPOC patients felt not treated with respect).</a:t>
            </a:r>
          </a:p>
          <a:p>
            <a:r>
              <a:rPr lang="en-US" dirty="0">
                <a:ea typeface="Lato"/>
                <a:cs typeface="Lato"/>
              </a:rPr>
              <a:t>Only 83% of BIPOC patients and 79% of white patients felt that "when clinical team couldn’t meet patients' wishes, they explained why" (~20% of patients across all racial groups did not feel that decision making was explained to them)</a:t>
            </a:r>
          </a:p>
          <a:p>
            <a:r>
              <a:rPr lang="en-US" dirty="0">
                <a:ea typeface="Lato"/>
                <a:cs typeface="Lato"/>
              </a:rPr>
              <a:t>16% of BIPOC patients and 11% of white patients felt they were pressured into care they didn’t want</a:t>
            </a:r>
          </a:p>
          <a:p>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E125D8EB-7BF8-4A15-983D-148BAB8D97C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4834DD2-0965-46B6-9500-5112B1A1330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15041462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F2D78-56AF-4F51-BAC8-33E8CE1FCDE9}"/>
              </a:ext>
            </a:extLst>
          </p:cNvPr>
          <p:cNvSpPr>
            <a:spLocks noGrp="1"/>
          </p:cNvSpPr>
          <p:nvPr>
            <p:ph type="title"/>
          </p:nvPr>
        </p:nvSpPr>
        <p:spPr>
          <a:xfrm>
            <a:off x="195942" y="238805"/>
            <a:ext cx="10972800" cy="1325563"/>
          </a:xfrm>
        </p:spPr>
        <p:txBody>
          <a:bodyPr/>
          <a:lstStyle/>
          <a:p>
            <a:r>
              <a:rPr lang="en-US" dirty="0">
                <a:ea typeface="Lato Medium"/>
                <a:cs typeface="Lato Medium"/>
              </a:rPr>
              <a:t>Summary of PREM data: Insurance Status</a:t>
            </a:r>
          </a:p>
        </p:txBody>
      </p:sp>
      <p:sp>
        <p:nvSpPr>
          <p:cNvPr id="3" name="Content Placeholder 2">
            <a:extLst>
              <a:ext uri="{FF2B5EF4-FFF2-40B4-BE49-F238E27FC236}">
                <a16:creationId xmlns:a16="http://schemas.microsoft.com/office/drawing/2014/main" id="{4095BF62-A829-4AFB-B5FD-885597C79D77}"/>
              </a:ext>
            </a:extLst>
          </p:cNvPr>
          <p:cNvSpPr>
            <a:spLocks noGrp="1"/>
          </p:cNvSpPr>
          <p:nvPr>
            <p:ph idx="1"/>
          </p:nvPr>
        </p:nvSpPr>
        <p:spPr>
          <a:xfrm>
            <a:off x="435428" y="1564368"/>
            <a:ext cx="10972800" cy="4351338"/>
          </a:xfrm>
        </p:spPr>
        <p:txBody>
          <a:bodyPr vert="horz" lIns="91440" tIns="45720" rIns="91440" bIns="45720" rtlCol="0" anchor="t">
            <a:noAutofit/>
          </a:bodyPr>
          <a:lstStyle/>
          <a:p>
            <a:r>
              <a:rPr lang="en-US" dirty="0">
                <a:ea typeface="Lato"/>
                <a:cs typeface="Lato"/>
              </a:rPr>
              <a:t>Only 77% of private patients and 83% of public insurance patients felt that "When my clinical team couldn’t meet my wishes, they explained why"</a:t>
            </a:r>
          </a:p>
          <a:p>
            <a:r>
              <a:rPr lang="en-US" dirty="0">
                <a:ea typeface="Lato"/>
                <a:cs typeface="Lato"/>
              </a:rPr>
              <a:t>10% of private insurance patients and 17% of public insurance patients felt pressured into accepting care they didn’t want</a:t>
            </a:r>
          </a:p>
          <a:p>
            <a:pPr marL="0" indent="0" algn="ctr">
              <a:buNone/>
            </a:pPr>
            <a:r>
              <a:rPr lang="en-US" sz="3200" b="1" dirty="0"/>
              <a:t>GOAL is to improve RESPECTFUL CARE and focus on improved communication with patients!  </a:t>
            </a:r>
          </a:p>
          <a:p>
            <a:pPr marL="0" indent="0" algn="ctr">
              <a:buNone/>
            </a:pPr>
            <a:r>
              <a:rPr lang="en-US" sz="3200" b="1" dirty="0"/>
              <a:t>Shared decision making and active listening</a:t>
            </a:r>
          </a:p>
          <a:p>
            <a:pPr marL="0" indent="0" algn="ctr">
              <a:buNone/>
            </a:pPr>
            <a:r>
              <a:rPr lang="en-US" sz="3200" b="1" dirty="0"/>
              <a:t>How do we make progress?</a:t>
            </a:r>
          </a:p>
          <a:p>
            <a:endParaRPr lang="en-US" dirty="0"/>
          </a:p>
        </p:txBody>
      </p:sp>
      <p:sp>
        <p:nvSpPr>
          <p:cNvPr id="4" name="Slide Number Placeholder 3">
            <a:extLst>
              <a:ext uri="{FF2B5EF4-FFF2-40B4-BE49-F238E27FC236}">
                <a16:creationId xmlns:a16="http://schemas.microsoft.com/office/drawing/2014/main" id="{5B3A65FE-CE9B-4CED-9764-219AB456146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D2EDDA6-1DB5-4C25-AA64-F9D27C80FA9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38969682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Calibri"/>
                <a:cs typeface="Calibri"/>
              </a:rPr>
              <a:t>Respectful Care Breakfast Check-In</a:t>
            </a:r>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endParaRPr lang="en-US" sz="2600" b="1"/>
          </a:p>
        </p:txBody>
      </p:sp>
    </p:spTree>
    <p:extLst>
      <p:ext uri="{BB962C8B-B14F-4D97-AF65-F5344CB8AC3E}">
        <p14:creationId xmlns:p14="http://schemas.microsoft.com/office/powerpoint/2010/main" val="4011275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E8DDD1-04B8-754F-4D61-9B4DF67FEB1D}"/>
              </a:ext>
            </a:extLst>
          </p:cNvPr>
          <p:cNvSpPr>
            <a:spLocks noGrp="1"/>
          </p:cNvSpPr>
          <p:nvPr>
            <p:ph type="title"/>
          </p:nvPr>
        </p:nvSpPr>
        <p:spPr/>
        <p:txBody>
          <a:bodyPr/>
          <a:lstStyle/>
          <a:p>
            <a:r>
              <a:rPr lang="en-US" dirty="0">
                <a:ea typeface="Lato Medium"/>
                <a:cs typeface="Lato Medium"/>
              </a:rPr>
              <a:t>Thinking Creatively on Engagement!</a:t>
            </a:r>
            <a:endParaRPr lang="en-US" dirty="0"/>
          </a:p>
        </p:txBody>
      </p:sp>
      <p:graphicFrame>
        <p:nvGraphicFramePr>
          <p:cNvPr id="6" name="Diagram 6">
            <a:extLst>
              <a:ext uri="{FF2B5EF4-FFF2-40B4-BE49-F238E27FC236}">
                <a16:creationId xmlns:a16="http://schemas.microsoft.com/office/drawing/2014/main" id="{5731A82E-C525-3712-085E-1607C5D27AE3}"/>
              </a:ext>
            </a:extLst>
          </p:cNvPr>
          <p:cNvGraphicFramePr>
            <a:graphicFrameLocks noGrp="1"/>
          </p:cNvGraphicFramePr>
          <p:nvPr>
            <p:ph idx="1"/>
          </p:nvPr>
        </p:nvGraphicFramePr>
        <p:xfrm>
          <a:off x="609600" y="1825625"/>
          <a:ext cx="109728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9CBBA4AB-DB7F-DBBD-BB66-99337CCE332F}"/>
              </a:ext>
            </a:extLst>
          </p:cNvPr>
          <p:cNvSpPr>
            <a:spLocks noGrp="1"/>
          </p:cNvSpPr>
          <p:nvPr>
            <p:ph type="sldNum" sz="quarter" idx="10"/>
          </p:nvPr>
        </p:nvSpPr>
        <p:spPr/>
        <p:txBody>
          <a:bodyPr/>
          <a:lstStyle/>
          <a:p>
            <a:fld id="{97033E4B-E3EB-3D46-B2D8-3159663620FA}" type="slidenum">
              <a:rPr lang="en-US" smtClean="0"/>
              <a:pPr/>
              <a:t>27</a:t>
            </a:fld>
            <a:endParaRPr lang="en-US"/>
          </a:p>
        </p:txBody>
      </p:sp>
      <p:sp>
        <p:nvSpPr>
          <p:cNvPr id="5" name="Footer Placeholder 4">
            <a:extLst>
              <a:ext uri="{FF2B5EF4-FFF2-40B4-BE49-F238E27FC236}">
                <a16:creationId xmlns:a16="http://schemas.microsoft.com/office/drawing/2014/main" id="{434F4947-B78B-9FA7-D51F-D79696A04276}"/>
              </a:ext>
            </a:extLst>
          </p:cNvPr>
          <p:cNvSpPr>
            <a:spLocks noGrp="1"/>
          </p:cNvSpPr>
          <p:nvPr>
            <p:ph type="ftr" sz="quarter" idx="11"/>
          </p:nvPr>
        </p:nvSpPr>
        <p:spPr/>
        <p:txBody>
          <a:bodyPr/>
          <a:lstStyle/>
          <a:p>
            <a:pPr algn="l"/>
            <a:r>
              <a:rPr lang="en-US"/>
              <a:t>Illinois Perinatal Quality Collaborative</a:t>
            </a:r>
          </a:p>
        </p:txBody>
      </p:sp>
      <p:pic>
        <p:nvPicPr>
          <p:cNvPr id="893" name="Graphic 893" descr="Shooting star with solid fill">
            <a:extLst>
              <a:ext uri="{FF2B5EF4-FFF2-40B4-BE49-F238E27FC236}">
                <a16:creationId xmlns:a16="http://schemas.microsoft.com/office/drawing/2014/main" id="{AB822D5D-2AF9-001C-C3C5-887F1190697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990652" y="3131726"/>
            <a:ext cx="641586" cy="641586"/>
          </a:xfrm>
          <a:prstGeom prst="rect">
            <a:avLst/>
          </a:prstGeom>
        </p:spPr>
      </p:pic>
      <p:pic>
        <p:nvPicPr>
          <p:cNvPr id="894" name="Graphic 894" descr="Clapping hands with solid fill">
            <a:extLst>
              <a:ext uri="{FF2B5EF4-FFF2-40B4-BE49-F238E27FC236}">
                <a16:creationId xmlns:a16="http://schemas.microsoft.com/office/drawing/2014/main" id="{79BA1821-4084-3C90-B02C-4263F0818BA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617082" y="3133489"/>
            <a:ext cx="556919" cy="556919"/>
          </a:xfrm>
          <a:prstGeom prst="rect">
            <a:avLst/>
          </a:prstGeom>
        </p:spPr>
      </p:pic>
    </p:spTree>
    <p:extLst>
      <p:ext uri="{BB962C8B-B14F-4D97-AF65-F5344CB8AC3E}">
        <p14:creationId xmlns:p14="http://schemas.microsoft.com/office/powerpoint/2010/main" val="42417085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549B7-6ED0-53FD-9B28-CDA21D98B1DA}"/>
              </a:ext>
            </a:extLst>
          </p:cNvPr>
          <p:cNvSpPr>
            <a:spLocks noGrp="1"/>
          </p:cNvSpPr>
          <p:nvPr>
            <p:ph type="title"/>
          </p:nvPr>
        </p:nvSpPr>
        <p:spPr>
          <a:xfrm>
            <a:off x="291550" y="144669"/>
            <a:ext cx="7427843" cy="1325563"/>
          </a:xfrm>
        </p:spPr>
        <p:txBody>
          <a:bodyPr/>
          <a:lstStyle/>
          <a:p>
            <a:r>
              <a:rPr lang="en-US" dirty="0">
                <a:ea typeface="Lato Medium"/>
                <a:cs typeface="Lato Medium"/>
              </a:rPr>
              <a:t>Planning your Respectful Care Breakfast  </a:t>
            </a:r>
            <a:endParaRPr lang="en-US" dirty="0"/>
          </a:p>
        </p:txBody>
      </p:sp>
      <p:graphicFrame>
        <p:nvGraphicFramePr>
          <p:cNvPr id="6" name="Diagram 6">
            <a:extLst>
              <a:ext uri="{FF2B5EF4-FFF2-40B4-BE49-F238E27FC236}">
                <a16:creationId xmlns:a16="http://schemas.microsoft.com/office/drawing/2014/main" id="{E3191E14-BEA4-BFCE-B113-7D7880E23A54}"/>
              </a:ext>
            </a:extLst>
          </p:cNvPr>
          <p:cNvGraphicFramePr>
            <a:graphicFrameLocks noGrp="1"/>
          </p:cNvGraphicFramePr>
          <p:nvPr>
            <p:ph idx="1"/>
            <p:extLst>
              <p:ext uri="{D42A27DB-BD31-4B8C-83A1-F6EECF244321}">
                <p14:modId xmlns:p14="http://schemas.microsoft.com/office/powerpoint/2010/main" val="4023637632"/>
              </p:ext>
            </p:extLst>
          </p:nvPr>
        </p:nvGraphicFramePr>
        <p:xfrm>
          <a:off x="145775" y="295529"/>
          <a:ext cx="11908147" cy="65135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DDCDBAD3-9B3C-1A8D-812A-5BA888D46B9D}"/>
              </a:ext>
            </a:extLst>
          </p:cNvPr>
          <p:cNvSpPr>
            <a:spLocks noGrp="1"/>
          </p:cNvSpPr>
          <p:nvPr>
            <p:ph type="sldNum" sz="quarter" idx="10"/>
          </p:nvPr>
        </p:nvSpPr>
        <p:spPr/>
        <p:txBody>
          <a:bodyPr/>
          <a:lstStyle/>
          <a:p>
            <a:fld id="{97033E4B-E3EB-3D46-B2D8-3159663620FA}" type="slidenum">
              <a:rPr lang="en-US" smtClean="0"/>
              <a:pPr/>
              <a:t>28</a:t>
            </a:fld>
            <a:endParaRPr lang="en-US"/>
          </a:p>
        </p:txBody>
      </p:sp>
      <p:pic>
        <p:nvPicPr>
          <p:cNvPr id="1028" name="Graphic 1028" descr="Meeting outline">
            <a:extLst>
              <a:ext uri="{FF2B5EF4-FFF2-40B4-BE49-F238E27FC236}">
                <a16:creationId xmlns:a16="http://schemas.microsoft.com/office/drawing/2014/main" id="{CE9F3C7A-7DD1-7217-67A6-032F043A85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12393" y="350250"/>
            <a:ext cx="914400" cy="914400"/>
          </a:xfrm>
          <a:prstGeom prst="rect">
            <a:avLst/>
          </a:prstGeom>
        </p:spPr>
      </p:pic>
    </p:spTree>
    <p:extLst>
      <p:ext uri="{BB962C8B-B14F-4D97-AF65-F5344CB8AC3E}">
        <p14:creationId xmlns:p14="http://schemas.microsoft.com/office/powerpoint/2010/main" val="1835553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3C54F4CE-85F0-46ED-80DA-9518C9251A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DADD1FCA-8ACB-4958-81DD-4CDD6D3E19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802086" cy="6858000"/>
          </a:xfrm>
          <a:custGeom>
            <a:avLst/>
            <a:gdLst>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9647 w 5734864"/>
              <a:gd name="connsiteY33" fmla="*/ 1936120 h 6858000"/>
              <a:gd name="connsiteX34" fmla="*/ 714660 w 5734864"/>
              <a:gd name="connsiteY34" fmla="*/ 1982709 h 6858000"/>
              <a:gd name="connsiteX35" fmla="*/ 710759 w 5734864"/>
              <a:gd name="connsiteY35" fmla="*/ 2013010 h 6858000"/>
              <a:gd name="connsiteX36" fmla="*/ 697927 w 5734864"/>
              <a:gd name="connsiteY36" fmla="*/ 2069833 h 6858000"/>
              <a:gd name="connsiteX37" fmla="*/ 693594 w 5734864"/>
              <a:gd name="connsiteY37" fmla="*/ 2103731 h 6858000"/>
              <a:gd name="connsiteX38" fmla="*/ 691109 w 5734864"/>
              <a:gd name="connsiteY38" fmla="*/ 2124027 h 6858000"/>
              <a:gd name="connsiteX39" fmla="*/ 676593 w 5734864"/>
              <a:gd name="connsiteY39" fmla="*/ 2176182 h 6858000"/>
              <a:gd name="connsiteX40" fmla="*/ 633227 w 5734864"/>
              <a:gd name="connsiteY40" fmla="*/ 2258036 h 6858000"/>
              <a:gd name="connsiteX41" fmla="*/ 625564 w 5734864"/>
              <a:gd name="connsiteY41" fmla="*/ 2284567 h 6858000"/>
              <a:gd name="connsiteX42" fmla="*/ 627074 w 5734864"/>
              <a:gd name="connsiteY42" fmla="*/ 2289605 h 6858000"/>
              <a:gd name="connsiteX43" fmla="*/ 614574 w 5734864"/>
              <a:gd name="connsiteY43" fmla="*/ 2308717 h 6858000"/>
              <a:gd name="connsiteX44" fmla="*/ 606890 w 5734864"/>
              <a:gd name="connsiteY44" fmla="*/ 2320662 h 6858000"/>
              <a:gd name="connsiteX45" fmla="*/ 605558 w 5734864"/>
              <a:gd name="connsiteY45" fmla="*/ 2327897 h 6858000"/>
              <a:gd name="connsiteX46" fmla="*/ 602202 w 5734864"/>
              <a:gd name="connsiteY46" fmla="*/ 2357749 h 6858000"/>
              <a:gd name="connsiteX47" fmla="*/ 600213 w 5734864"/>
              <a:gd name="connsiteY47" fmla="*/ 2364905 h 6858000"/>
              <a:gd name="connsiteX48" fmla="*/ 597160 w 5734864"/>
              <a:gd name="connsiteY48" fmla="*/ 2388351 h 6858000"/>
              <a:gd name="connsiteX49" fmla="*/ 597982 w 5734864"/>
              <a:gd name="connsiteY49" fmla="*/ 2402296 h 6858000"/>
              <a:gd name="connsiteX50" fmla="*/ 593150 w 5734864"/>
              <a:gd name="connsiteY50" fmla="*/ 2420015 h 6858000"/>
              <a:gd name="connsiteX51" fmla="*/ 592833 w 5734864"/>
              <a:gd name="connsiteY51" fmla="*/ 2422749 h 6858000"/>
              <a:gd name="connsiteX52" fmla="*/ 594479 w 5734864"/>
              <a:gd name="connsiteY52" fmla="*/ 2426002 h 6858000"/>
              <a:gd name="connsiteX53" fmla="*/ 591963 w 5734864"/>
              <a:gd name="connsiteY53" fmla="*/ 2431950 h 6858000"/>
              <a:gd name="connsiteX54" fmla="*/ 591544 w 5734864"/>
              <a:gd name="connsiteY54" fmla="*/ 2433897 h 6858000"/>
              <a:gd name="connsiteX55" fmla="*/ 589519 w 5734864"/>
              <a:gd name="connsiteY55" fmla="*/ 2451398 h 6858000"/>
              <a:gd name="connsiteX56" fmla="*/ 590037 w 5734864"/>
              <a:gd name="connsiteY56" fmla="*/ 2455536 h 6858000"/>
              <a:gd name="connsiteX57" fmla="*/ 588179 w 5734864"/>
              <a:gd name="connsiteY57" fmla="*/ 2462981 h 6858000"/>
              <a:gd name="connsiteX58" fmla="*/ 583434 w 5734864"/>
              <a:gd name="connsiteY58" fmla="*/ 2503991 h 6858000"/>
              <a:gd name="connsiteX59" fmla="*/ 567942 w 5734864"/>
              <a:gd name="connsiteY59" fmla="*/ 2652936 h 6858000"/>
              <a:gd name="connsiteX60" fmla="*/ 573869 w 5734864"/>
              <a:gd name="connsiteY60" fmla="*/ 2670188 h 6858000"/>
              <a:gd name="connsiteX61" fmla="*/ 575243 w 5734864"/>
              <a:gd name="connsiteY61" fmla="*/ 2688114 h 6858000"/>
              <a:gd name="connsiteX62" fmla="*/ 573824 w 5734864"/>
              <a:gd name="connsiteY62" fmla="*/ 2689856 h 6858000"/>
              <a:gd name="connsiteX63" fmla="*/ 570699 w 5734864"/>
              <a:gd name="connsiteY63" fmla="*/ 2709353 h 6858000"/>
              <a:gd name="connsiteX64" fmla="*/ 573192 w 5734864"/>
              <a:gd name="connsiteY64" fmla="*/ 2714527 h 6858000"/>
              <a:gd name="connsiteX65" fmla="*/ 572044 w 5734864"/>
              <a:gd name="connsiteY65" fmla="*/ 2728187 h 6858000"/>
              <a:gd name="connsiteX66" fmla="*/ 572465 w 5734864"/>
              <a:gd name="connsiteY66" fmla="*/ 2755863 h 6858000"/>
              <a:gd name="connsiteX67" fmla="*/ 570028 w 5734864"/>
              <a:gd name="connsiteY67" fmla="*/ 2760324 h 6858000"/>
              <a:gd name="connsiteX68" fmla="*/ 566748 w 5734864"/>
              <a:gd name="connsiteY68" fmla="*/ 2800948 h 6858000"/>
              <a:gd name="connsiteX69" fmla="*/ 565509 w 5734864"/>
              <a:gd name="connsiteY69" fmla="*/ 2801167 h 6858000"/>
              <a:gd name="connsiteX70" fmla="*/ 559367 w 5734864"/>
              <a:gd name="connsiteY70" fmla="*/ 2811129 h 6858000"/>
              <a:gd name="connsiteX71" fmla="*/ 550354 w 5734864"/>
              <a:gd name="connsiteY71" fmla="*/ 2830949 h 6858000"/>
              <a:gd name="connsiteX72" fmla="*/ 514795 w 5734864"/>
              <a:gd name="connsiteY72" fmla="*/ 2872433 h 6858000"/>
              <a:gd name="connsiteX73" fmla="*/ 509875 w 5734864"/>
              <a:gd name="connsiteY73" fmla="*/ 2923099 h 6858000"/>
              <a:gd name="connsiteX74" fmla="*/ 509577 w 5734864"/>
              <a:gd name="connsiteY74" fmla="*/ 2923197 h 6858000"/>
              <a:gd name="connsiteX75" fmla="*/ 507597 w 5734864"/>
              <a:gd name="connsiteY75" fmla="*/ 2931868 h 6858000"/>
              <a:gd name="connsiteX76" fmla="*/ 507379 w 5734864"/>
              <a:gd name="connsiteY76" fmla="*/ 2938322 h 6858000"/>
              <a:gd name="connsiteX77" fmla="*/ 504725 w 5734864"/>
              <a:gd name="connsiteY77" fmla="*/ 2954519 h 6858000"/>
              <a:gd name="connsiteX78" fmla="*/ 502018 w 5734864"/>
              <a:gd name="connsiteY78" fmla="*/ 2959643 h 6858000"/>
              <a:gd name="connsiteX79" fmla="*/ 498360 w 5734864"/>
              <a:gd name="connsiteY79" fmla="*/ 2961019 h 6858000"/>
              <a:gd name="connsiteX80" fmla="*/ 498483 w 5734864"/>
              <a:gd name="connsiteY80" fmla="*/ 2962590 h 6858000"/>
              <a:gd name="connsiteX81" fmla="*/ 484403 w 5734864"/>
              <a:gd name="connsiteY81" fmla="*/ 2990538 h 6858000"/>
              <a:gd name="connsiteX82" fmla="*/ 463075 w 5734864"/>
              <a:gd name="connsiteY82" fmla="*/ 3055956 h 6858000"/>
              <a:gd name="connsiteX83" fmla="*/ 455013 w 5734864"/>
              <a:gd name="connsiteY83" fmla="*/ 3094482 h 6858000"/>
              <a:gd name="connsiteX84" fmla="*/ 428391 w 5734864"/>
              <a:gd name="connsiteY84" fmla="*/ 3198850 h 6858000"/>
              <a:gd name="connsiteX85" fmla="*/ 401440 w 5734864"/>
              <a:gd name="connsiteY85" fmla="*/ 3307560 h 6858000"/>
              <a:gd name="connsiteX86" fmla="*/ 386076 w 5734864"/>
              <a:gd name="connsiteY86" fmla="*/ 3373943 h 6858000"/>
              <a:gd name="connsiteX87" fmla="*/ 374726 w 5734864"/>
              <a:gd name="connsiteY87" fmla="*/ 3381364 h 6858000"/>
              <a:gd name="connsiteX88" fmla="*/ 369145 w 5734864"/>
              <a:gd name="connsiteY88" fmla="*/ 3383729 h 6858000"/>
              <a:gd name="connsiteX89" fmla="*/ 364294 w 5734864"/>
              <a:gd name="connsiteY89" fmla="*/ 3414159 h 6858000"/>
              <a:gd name="connsiteX90" fmla="*/ 366450 w 5734864"/>
              <a:gd name="connsiteY90" fmla="*/ 3436925 h 6858000"/>
              <a:gd name="connsiteX91" fmla="*/ 351743 w 5734864"/>
              <a:gd name="connsiteY91" fmla="*/ 3521619 h 6858000"/>
              <a:gd name="connsiteX92" fmla="*/ 345784 w 5734864"/>
              <a:gd name="connsiteY92" fmla="*/ 3603757 h 6858000"/>
              <a:gd name="connsiteX93" fmla="*/ 344198 w 5734864"/>
              <a:gd name="connsiteY93" fmla="*/ 3652424 h 6858000"/>
              <a:gd name="connsiteX94" fmla="*/ 352450 w 5734864"/>
              <a:gd name="connsiteY94" fmla="*/ 3665222 h 6858000"/>
              <a:gd name="connsiteX95" fmla="*/ 342621 w 5734864"/>
              <a:gd name="connsiteY95" fmla="*/ 3700804 h 6858000"/>
              <a:gd name="connsiteX96" fmla="*/ 341514 w 5734864"/>
              <a:gd name="connsiteY96" fmla="*/ 3734774 h 6858000"/>
              <a:gd name="connsiteX97" fmla="*/ 340607 w 5734864"/>
              <a:gd name="connsiteY97" fmla="*/ 3785153 h 6858000"/>
              <a:gd name="connsiteX98" fmla="*/ 340707 w 5734864"/>
              <a:gd name="connsiteY98" fmla="*/ 3788177 h 6858000"/>
              <a:gd name="connsiteX99" fmla="*/ 340361 w 5734864"/>
              <a:gd name="connsiteY99" fmla="*/ 3798803 h 6858000"/>
              <a:gd name="connsiteX100" fmla="*/ 339642 w 5734864"/>
              <a:gd name="connsiteY100" fmla="*/ 3838750 h 6858000"/>
              <a:gd name="connsiteX101" fmla="*/ 360295 w 5734864"/>
              <a:gd name="connsiteY101" fmla="*/ 4015196 h 6858000"/>
              <a:gd name="connsiteX102" fmla="*/ 339043 w 5734864"/>
              <a:gd name="connsiteY102" fmla="*/ 4052778 h 6858000"/>
              <a:gd name="connsiteX103" fmla="*/ 339343 w 5734864"/>
              <a:gd name="connsiteY103" fmla="*/ 4096257 h 6858000"/>
              <a:gd name="connsiteX104" fmla="*/ 340786 w 5734864"/>
              <a:gd name="connsiteY104" fmla="*/ 4321136 h 6858000"/>
              <a:gd name="connsiteX105" fmla="*/ 343158 w 5734864"/>
              <a:gd name="connsiteY105" fmla="*/ 4429174 h 6858000"/>
              <a:gd name="connsiteX106" fmla="*/ 334599 w 5734864"/>
              <a:gd name="connsiteY106" fmla="*/ 4449938 h 6858000"/>
              <a:gd name="connsiteX107" fmla="*/ 332890 w 5734864"/>
              <a:gd name="connsiteY107" fmla="*/ 4453515 h 6858000"/>
              <a:gd name="connsiteX108" fmla="*/ 331105 w 5734864"/>
              <a:gd name="connsiteY108" fmla="*/ 4467941 h 6858000"/>
              <a:gd name="connsiteX109" fmla="*/ 324289 w 5734864"/>
              <a:gd name="connsiteY109" fmla="*/ 4471861 h 6858000"/>
              <a:gd name="connsiteX110" fmla="*/ 317079 w 5734864"/>
              <a:gd name="connsiteY110" fmla="*/ 4493468 h 6858000"/>
              <a:gd name="connsiteX111" fmla="*/ 315557 w 5734864"/>
              <a:gd name="connsiteY111" fmla="*/ 4520067 h 6858000"/>
              <a:gd name="connsiteX112" fmla="*/ 315240 w 5734864"/>
              <a:gd name="connsiteY112" fmla="*/ 4536872 h 6858000"/>
              <a:gd name="connsiteX113" fmla="*/ 316200 w 5734864"/>
              <a:gd name="connsiteY113" fmla="*/ 4538297 h 6858000"/>
              <a:gd name="connsiteX114" fmla="*/ 317507 w 5734864"/>
              <a:gd name="connsiteY114" fmla="*/ 4547582 h 6858000"/>
              <a:gd name="connsiteX115" fmla="*/ 323078 w 5734864"/>
              <a:gd name="connsiteY115" fmla="*/ 4592102 h 6858000"/>
              <a:gd name="connsiteX116" fmla="*/ 328722 w 5734864"/>
              <a:gd name="connsiteY116" fmla="*/ 4667914 h 6858000"/>
              <a:gd name="connsiteX117" fmla="*/ 335597 w 5734864"/>
              <a:gd name="connsiteY117" fmla="*/ 4695035 h 6858000"/>
              <a:gd name="connsiteX118" fmla="*/ 339485 w 5734864"/>
              <a:gd name="connsiteY118" fmla="*/ 4695979 h 6858000"/>
              <a:gd name="connsiteX119" fmla="*/ 341089 w 5734864"/>
              <a:gd name="connsiteY119" fmla="*/ 4704268 h 6858000"/>
              <a:gd name="connsiteX120" fmla="*/ 342177 w 5734864"/>
              <a:gd name="connsiteY120" fmla="*/ 4706060 h 6858000"/>
              <a:gd name="connsiteX121" fmla="*/ 347751 w 5734864"/>
              <a:gd name="connsiteY121" fmla="*/ 4716754 h 6858000"/>
              <a:gd name="connsiteX122" fmla="*/ 344125 w 5734864"/>
              <a:gd name="connsiteY122" fmla="*/ 4764669 h 6858000"/>
              <a:gd name="connsiteX123" fmla="*/ 340188 w 5734864"/>
              <a:gd name="connsiteY123" fmla="*/ 4779386 h 6858000"/>
              <a:gd name="connsiteX124" fmla="*/ 335146 w 5734864"/>
              <a:gd name="connsiteY124" fmla="*/ 4787491 h 6858000"/>
              <a:gd name="connsiteX125" fmla="*/ 319124 w 5734864"/>
              <a:gd name="connsiteY125" fmla="*/ 4843514 h 6858000"/>
              <a:gd name="connsiteX126" fmla="*/ 305956 w 5734864"/>
              <a:gd name="connsiteY126" fmla="*/ 4881505 h 6858000"/>
              <a:gd name="connsiteX127" fmla="*/ 301062 w 5734864"/>
              <a:gd name="connsiteY127" fmla="*/ 4889332 h 6858000"/>
              <a:gd name="connsiteX128" fmla="*/ 302141 w 5734864"/>
              <a:gd name="connsiteY128" fmla="*/ 4899400 h 6858000"/>
              <a:gd name="connsiteX129" fmla="*/ 304424 w 5734864"/>
              <a:gd name="connsiteY129" fmla="*/ 4902664 h 6858000"/>
              <a:gd name="connsiteX130" fmla="*/ 293123 w 5734864"/>
              <a:gd name="connsiteY130" fmla="*/ 4932769 h 6858000"/>
              <a:gd name="connsiteX131" fmla="*/ 292275 w 5734864"/>
              <a:gd name="connsiteY131" fmla="*/ 4936482 h 6858000"/>
              <a:gd name="connsiteX132" fmla="*/ 288304 w 5734864"/>
              <a:gd name="connsiteY132" fmla="*/ 4962325 h 6858000"/>
              <a:gd name="connsiteX133" fmla="*/ 287420 w 5734864"/>
              <a:gd name="connsiteY133" fmla="*/ 5042193 h 6858000"/>
              <a:gd name="connsiteX134" fmla="*/ 287020 w 5734864"/>
              <a:gd name="connsiteY134" fmla="*/ 5065655 h 6858000"/>
              <a:gd name="connsiteX135" fmla="*/ 288488 w 5734864"/>
              <a:gd name="connsiteY135" fmla="*/ 5082216 h 6858000"/>
              <a:gd name="connsiteX136" fmla="*/ 282763 w 5734864"/>
              <a:gd name="connsiteY136" fmla="*/ 5127114 h 6858000"/>
              <a:gd name="connsiteX137" fmla="*/ 269316 w 5734864"/>
              <a:gd name="connsiteY137" fmla="*/ 5202682 h 6858000"/>
              <a:gd name="connsiteX138" fmla="*/ 269174 w 5734864"/>
              <a:gd name="connsiteY138" fmla="*/ 5230835 h 6858000"/>
              <a:gd name="connsiteX139" fmla="*/ 272679 w 5734864"/>
              <a:gd name="connsiteY139" fmla="*/ 5232660 h 6858000"/>
              <a:gd name="connsiteX140" fmla="*/ 272160 w 5734864"/>
              <a:gd name="connsiteY140" fmla="*/ 5241150 h 6858000"/>
              <a:gd name="connsiteX141" fmla="*/ 272760 w 5734864"/>
              <a:gd name="connsiteY141" fmla="*/ 5243156 h 6858000"/>
              <a:gd name="connsiteX142" fmla="*/ 275462 w 5734864"/>
              <a:gd name="connsiteY142" fmla="*/ 5254919 h 6858000"/>
              <a:gd name="connsiteX143" fmla="*/ 262897 w 5734864"/>
              <a:gd name="connsiteY143" fmla="*/ 5286259 h 6858000"/>
              <a:gd name="connsiteX144" fmla="*/ 252761 w 5734864"/>
              <a:gd name="connsiteY144" fmla="*/ 5357801 h 6858000"/>
              <a:gd name="connsiteX145" fmla="*/ 242360 w 5734864"/>
              <a:gd name="connsiteY145" fmla="*/ 5460080 h 6858000"/>
              <a:gd name="connsiteX146" fmla="*/ 229880 w 5734864"/>
              <a:gd name="connsiteY146" fmla="*/ 5539714 h 6858000"/>
              <a:gd name="connsiteX147" fmla="*/ 204283 w 5734864"/>
              <a:gd name="connsiteY147" fmla="*/ 5639080 h 6858000"/>
              <a:gd name="connsiteX148" fmla="*/ 198948 w 5734864"/>
              <a:gd name="connsiteY148" fmla="*/ 5710958 h 6858000"/>
              <a:gd name="connsiteX149" fmla="*/ 192367 w 5734864"/>
              <a:gd name="connsiteY149" fmla="*/ 5719859 h 6858000"/>
              <a:gd name="connsiteX150" fmla="*/ 188035 w 5734864"/>
              <a:gd name="connsiteY150" fmla="*/ 5729935 h 6858000"/>
              <a:gd name="connsiteX151" fmla="*/ 188428 w 5734864"/>
              <a:gd name="connsiteY151" fmla="*/ 5731182 h 6858000"/>
              <a:gd name="connsiteX152" fmla="*/ 181635 w 5734864"/>
              <a:gd name="connsiteY152" fmla="*/ 5753538 h 6858000"/>
              <a:gd name="connsiteX153" fmla="*/ 169744 w 5734864"/>
              <a:gd name="connsiteY153" fmla="*/ 5796307 h 6858000"/>
              <a:gd name="connsiteX154" fmla="*/ 170351 w 5734864"/>
              <a:gd name="connsiteY154" fmla="*/ 5796644 h 6858000"/>
              <a:gd name="connsiteX155" fmla="*/ 171559 w 5734864"/>
              <a:gd name="connsiteY155" fmla="*/ 5803435 h 6858000"/>
              <a:gd name="connsiteX156" fmla="*/ 172284 w 5734864"/>
              <a:gd name="connsiteY156" fmla="*/ 5816391 h 6858000"/>
              <a:gd name="connsiteX157" fmla="*/ 182542 w 5734864"/>
              <a:gd name="connsiteY157" fmla="*/ 5846382 h 6858000"/>
              <a:gd name="connsiteX158" fmla="*/ 175877 w 5734864"/>
              <a:gd name="connsiteY158" fmla="*/ 5871336 h 6858000"/>
              <a:gd name="connsiteX159" fmla="*/ 174910 w 5734864"/>
              <a:gd name="connsiteY159" fmla="*/ 5876376 h 6858000"/>
              <a:gd name="connsiteX160" fmla="*/ 175047 w 5734864"/>
              <a:gd name="connsiteY160" fmla="*/ 5876483 h 6858000"/>
              <a:gd name="connsiteX161" fmla="*/ 174335 w 5734864"/>
              <a:gd name="connsiteY161" fmla="*/ 5881814 h 6858000"/>
              <a:gd name="connsiteX162" fmla="*/ 171273 w 5734864"/>
              <a:gd name="connsiteY162" fmla="*/ 5895339 h 6858000"/>
              <a:gd name="connsiteX163" fmla="*/ 171658 w 5734864"/>
              <a:gd name="connsiteY163" fmla="*/ 5898749 h 6858000"/>
              <a:gd name="connsiteX164" fmla="*/ 174658 w 5734864"/>
              <a:gd name="connsiteY164" fmla="*/ 5919558 h 6858000"/>
              <a:gd name="connsiteX165" fmla="*/ 169099 w 5734864"/>
              <a:gd name="connsiteY165" fmla="*/ 5984417 h 6858000"/>
              <a:gd name="connsiteX166" fmla="*/ 162007 w 5734864"/>
              <a:gd name="connsiteY166" fmla="*/ 6049043 h 6858000"/>
              <a:gd name="connsiteX167" fmla="*/ 156875 w 5734864"/>
              <a:gd name="connsiteY167" fmla="*/ 6114000 h 6858000"/>
              <a:gd name="connsiteX168" fmla="*/ 165441 w 5734864"/>
              <a:gd name="connsiteY168" fmla="*/ 6146938 h 6858000"/>
              <a:gd name="connsiteX169" fmla="*/ 165177 w 5734864"/>
              <a:gd name="connsiteY169" fmla="*/ 6150658 h 6858000"/>
              <a:gd name="connsiteX170" fmla="*/ 161772 w 5734864"/>
              <a:gd name="connsiteY170" fmla="*/ 6160011 h 6858000"/>
              <a:gd name="connsiteX171" fmla="*/ 160051 w 5734864"/>
              <a:gd name="connsiteY171" fmla="*/ 6163393 h 6858000"/>
              <a:gd name="connsiteX172" fmla="*/ 158473 w 5734864"/>
              <a:gd name="connsiteY172" fmla="*/ 6168628 h 6858000"/>
              <a:gd name="connsiteX173" fmla="*/ 158573 w 5734864"/>
              <a:gd name="connsiteY173" fmla="*/ 6168799 h 6858000"/>
              <a:gd name="connsiteX174" fmla="*/ 146463 w 5734864"/>
              <a:gd name="connsiteY174" fmla="*/ 6196671 h 6858000"/>
              <a:gd name="connsiteX175" fmla="*/ 150209 w 5734864"/>
              <a:gd name="connsiteY175" fmla="*/ 6232365 h 6858000"/>
              <a:gd name="connsiteX176" fmla="*/ 148544 w 5734864"/>
              <a:gd name="connsiteY176" fmla="*/ 6246162 h 6858000"/>
              <a:gd name="connsiteX177" fmla="*/ 148403 w 5734864"/>
              <a:gd name="connsiteY177" fmla="*/ 6253754 h 6858000"/>
              <a:gd name="connsiteX178" fmla="*/ 138880 w 5734864"/>
              <a:gd name="connsiteY178" fmla="*/ 6276449 h 6858000"/>
              <a:gd name="connsiteX179" fmla="*/ 138683 w 5734864"/>
              <a:gd name="connsiteY179" fmla="*/ 6279721 h 6858000"/>
              <a:gd name="connsiteX180" fmla="*/ 130721 w 5734864"/>
              <a:gd name="connsiteY180" fmla="*/ 6293675 h 6858000"/>
              <a:gd name="connsiteX181" fmla="*/ 120717 w 5734864"/>
              <a:gd name="connsiteY181" fmla="*/ 6313967 h 6858000"/>
              <a:gd name="connsiteX182" fmla="*/ 120841 w 5734864"/>
              <a:gd name="connsiteY182" fmla="*/ 6315437 h 6858000"/>
              <a:gd name="connsiteX183" fmla="*/ 115208 w 5734864"/>
              <a:gd name="connsiteY183" fmla="*/ 6324024 h 6858000"/>
              <a:gd name="connsiteX184" fmla="*/ 101217 w 5734864"/>
              <a:gd name="connsiteY184" fmla="*/ 6365923 h 6858000"/>
              <a:gd name="connsiteX185" fmla="*/ 74946 w 5734864"/>
              <a:gd name="connsiteY185" fmla="*/ 6556817 h 6858000"/>
              <a:gd name="connsiteX186" fmla="*/ 16001 w 5734864"/>
              <a:gd name="connsiteY186" fmla="*/ 6808678 h 6858000"/>
              <a:gd name="connsiteX187" fmla="*/ 0 w 5734864"/>
              <a:gd name="connsiteY187" fmla="*/ 6858000 h 6858000"/>
              <a:gd name="connsiteX188" fmla="*/ 5734864 w 5734864"/>
              <a:gd name="connsiteY188" fmla="*/ 685800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6695 w 5734864"/>
              <a:gd name="connsiteY13" fmla="*/ 1035077 h 6858000"/>
              <a:gd name="connsiteX14" fmla="*/ 847865 w 5734864"/>
              <a:gd name="connsiteY14" fmla="*/ 1070795 h 6858000"/>
              <a:gd name="connsiteX15" fmla="*/ 862786 w 5734864"/>
              <a:gd name="connsiteY15" fmla="*/ 1238994 h 6858000"/>
              <a:gd name="connsiteX16" fmla="*/ 859345 w 5734864"/>
              <a:gd name="connsiteY16" fmla="*/ 1380427 h 6858000"/>
              <a:gd name="connsiteX17" fmla="*/ 855172 w 5734864"/>
              <a:gd name="connsiteY17" fmla="*/ 1435262 h 6858000"/>
              <a:gd name="connsiteX18" fmla="*/ 860494 w 5734864"/>
              <a:gd name="connsiteY18" fmla="*/ 1453861 h 6858000"/>
              <a:gd name="connsiteX19" fmla="*/ 853731 w 5734864"/>
              <a:gd name="connsiteY19" fmla="*/ 1467047 h 6858000"/>
              <a:gd name="connsiteX20" fmla="*/ 845847 w 5734864"/>
              <a:gd name="connsiteY20" fmla="*/ 1502307 h 6858000"/>
              <a:gd name="connsiteX21" fmla="*/ 817613 w 5734864"/>
              <a:gd name="connsiteY21" fmla="*/ 1565166 h 6858000"/>
              <a:gd name="connsiteX22" fmla="*/ 804223 w 5734864"/>
              <a:gd name="connsiteY22" fmla="*/ 1601941 h 6858000"/>
              <a:gd name="connsiteX23" fmla="*/ 791773 w 5734864"/>
              <a:gd name="connsiteY23" fmla="*/ 1627005 h 6858000"/>
              <a:gd name="connsiteX24" fmla="*/ 774645 w 5734864"/>
              <a:gd name="connsiteY24" fmla="*/ 1699922 h 6858000"/>
              <a:gd name="connsiteX25" fmla="*/ 752343 w 5734864"/>
              <a:gd name="connsiteY25" fmla="*/ 1824604 h 6858000"/>
              <a:gd name="connsiteX26" fmla="*/ 746254 w 5734864"/>
              <a:gd name="connsiteY26" fmla="*/ 1850222 h 6858000"/>
              <a:gd name="connsiteX27" fmla="*/ 728600 w 5734864"/>
              <a:gd name="connsiteY27" fmla="*/ 1869603 h 6858000"/>
              <a:gd name="connsiteX28" fmla="*/ 724396 w 5734864"/>
              <a:gd name="connsiteY28" fmla="*/ 1883104 h 6858000"/>
              <a:gd name="connsiteX29" fmla="*/ 722165 w 5734864"/>
              <a:gd name="connsiteY29" fmla="*/ 1885924 h 6858000"/>
              <a:gd name="connsiteX30" fmla="*/ 721338 w 5734864"/>
              <a:gd name="connsiteY30" fmla="*/ 1887123 h 6858000"/>
              <a:gd name="connsiteX31" fmla="*/ 714840 w 5734864"/>
              <a:gd name="connsiteY31" fmla="*/ 1902274 h 6858000"/>
              <a:gd name="connsiteX32" fmla="*/ 722847 w 5734864"/>
              <a:gd name="connsiteY32" fmla="*/ 1929891 h 6858000"/>
              <a:gd name="connsiteX33" fmla="*/ 714660 w 5734864"/>
              <a:gd name="connsiteY33" fmla="*/ 1982709 h 6858000"/>
              <a:gd name="connsiteX34" fmla="*/ 710759 w 5734864"/>
              <a:gd name="connsiteY34" fmla="*/ 2013010 h 6858000"/>
              <a:gd name="connsiteX35" fmla="*/ 697927 w 5734864"/>
              <a:gd name="connsiteY35" fmla="*/ 2069833 h 6858000"/>
              <a:gd name="connsiteX36" fmla="*/ 693594 w 5734864"/>
              <a:gd name="connsiteY36" fmla="*/ 2103731 h 6858000"/>
              <a:gd name="connsiteX37" fmla="*/ 691109 w 5734864"/>
              <a:gd name="connsiteY37" fmla="*/ 2124027 h 6858000"/>
              <a:gd name="connsiteX38" fmla="*/ 676593 w 5734864"/>
              <a:gd name="connsiteY38" fmla="*/ 2176182 h 6858000"/>
              <a:gd name="connsiteX39" fmla="*/ 633227 w 5734864"/>
              <a:gd name="connsiteY39" fmla="*/ 2258036 h 6858000"/>
              <a:gd name="connsiteX40" fmla="*/ 625564 w 5734864"/>
              <a:gd name="connsiteY40" fmla="*/ 2284567 h 6858000"/>
              <a:gd name="connsiteX41" fmla="*/ 627074 w 5734864"/>
              <a:gd name="connsiteY41" fmla="*/ 2289605 h 6858000"/>
              <a:gd name="connsiteX42" fmla="*/ 614574 w 5734864"/>
              <a:gd name="connsiteY42" fmla="*/ 2308717 h 6858000"/>
              <a:gd name="connsiteX43" fmla="*/ 606890 w 5734864"/>
              <a:gd name="connsiteY43" fmla="*/ 2320662 h 6858000"/>
              <a:gd name="connsiteX44" fmla="*/ 605558 w 5734864"/>
              <a:gd name="connsiteY44" fmla="*/ 2327897 h 6858000"/>
              <a:gd name="connsiteX45" fmla="*/ 602202 w 5734864"/>
              <a:gd name="connsiteY45" fmla="*/ 2357749 h 6858000"/>
              <a:gd name="connsiteX46" fmla="*/ 600213 w 5734864"/>
              <a:gd name="connsiteY46" fmla="*/ 2364905 h 6858000"/>
              <a:gd name="connsiteX47" fmla="*/ 597160 w 5734864"/>
              <a:gd name="connsiteY47" fmla="*/ 2388351 h 6858000"/>
              <a:gd name="connsiteX48" fmla="*/ 597982 w 5734864"/>
              <a:gd name="connsiteY48" fmla="*/ 2402296 h 6858000"/>
              <a:gd name="connsiteX49" fmla="*/ 593150 w 5734864"/>
              <a:gd name="connsiteY49" fmla="*/ 2420015 h 6858000"/>
              <a:gd name="connsiteX50" fmla="*/ 592833 w 5734864"/>
              <a:gd name="connsiteY50" fmla="*/ 2422749 h 6858000"/>
              <a:gd name="connsiteX51" fmla="*/ 594479 w 5734864"/>
              <a:gd name="connsiteY51" fmla="*/ 2426002 h 6858000"/>
              <a:gd name="connsiteX52" fmla="*/ 591963 w 5734864"/>
              <a:gd name="connsiteY52" fmla="*/ 2431950 h 6858000"/>
              <a:gd name="connsiteX53" fmla="*/ 591544 w 5734864"/>
              <a:gd name="connsiteY53" fmla="*/ 2433897 h 6858000"/>
              <a:gd name="connsiteX54" fmla="*/ 589519 w 5734864"/>
              <a:gd name="connsiteY54" fmla="*/ 2451398 h 6858000"/>
              <a:gd name="connsiteX55" fmla="*/ 590037 w 5734864"/>
              <a:gd name="connsiteY55" fmla="*/ 2455536 h 6858000"/>
              <a:gd name="connsiteX56" fmla="*/ 588179 w 5734864"/>
              <a:gd name="connsiteY56" fmla="*/ 2462981 h 6858000"/>
              <a:gd name="connsiteX57" fmla="*/ 583434 w 5734864"/>
              <a:gd name="connsiteY57" fmla="*/ 2503991 h 6858000"/>
              <a:gd name="connsiteX58" fmla="*/ 567942 w 5734864"/>
              <a:gd name="connsiteY58" fmla="*/ 2652936 h 6858000"/>
              <a:gd name="connsiteX59" fmla="*/ 573869 w 5734864"/>
              <a:gd name="connsiteY59" fmla="*/ 2670188 h 6858000"/>
              <a:gd name="connsiteX60" fmla="*/ 575243 w 5734864"/>
              <a:gd name="connsiteY60" fmla="*/ 2688114 h 6858000"/>
              <a:gd name="connsiteX61" fmla="*/ 573824 w 5734864"/>
              <a:gd name="connsiteY61" fmla="*/ 2689856 h 6858000"/>
              <a:gd name="connsiteX62" fmla="*/ 570699 w 5734864"/>
              <a:gd name="connsiteY62" fmla="*/ 2709353 h 6858000"/>
              <a:gd name="connsiteX63" fmla="*/ 573192 w 5734864"/>
              <a:gd name="connsiteY63" fmla="*/ 2714527 h 6858000"/>
              <a:gd name="connsiteX64" fmla="*/ 572044 w 5734864"/>
              <a:gd name="connsiteY64" fmla="*/ 2728187 h 6858000"/>
              <a:gd name="connsiteX65" fmla="*/ 572465 w 5734864"/>
              <a:gd name="connsiteY65" fmla="*/ 2755863 h 6858000"/>
              <a:gd name="connsiteX66" fmla="*/ 570028 w 5734864"/>
              <a:gd name="connsiteY66" fmla="*/ 2760324 h 6858000"/>
              <a:gd name="connsiteX67" fmla="*/ 566748 w 5734864"/>
              <a:gd name="connsiteY67" fmla="*/ 2800948 h 6858000"/>
              <a:gd name="connsiteX68" fmla="*/ 565509 w 5734864"/>
              <a:gd name="connsiteY68" fmla="*/ 2801167 h 6858000"/>
              <a:gd name="connsiteX69" fmla="*/ 559367 w 5734864"/>
              <a:gd name="connsiteY69" fmla="*/ 2811129 h 6858000"/>
              <a:gd name="connsiteX70" fmla="*/ 550354 w 5734864"/>
              <a:gd name="connsiteY70" fmla="*/ 2830949 h 6858000"/>
              <a:gd name="connsiteX71" fmla="*/ 514795 w 5734864"/>
              <a:gd name="connsiteY71" fmla="*/ 2872433 h 6858000"/>
              <a:gd name="connsiteX72" fmla="*/ 509875 w 5734864"/>
              <a:gd name="connsiteY72" fmla="*/ 2923099 h 6858000"/>
              <a:gd name="connsiteX73" fmla="*/ 509577 w 5734864"/>
              <a:gd name="connsiteY73" fmla="*/ 2923197 h 6858000"/>
              <a:gd name="connsiteX74" fmla="*/ 507597 w 5734864"/>
              <a:gd name="connsiteY74" fmla="*/ 2931868 h 6858000"/>
              <a:gd name="connsiteX75" fmla="*/ 507379 w 5734864"/>
              <a:gd name="connsiteY75" fmla="*/ 2938322 h 6858000"/>
              <a:gd name="connsiteX76" fmla="*/ 504725 w 5734864"/>
              <a:gd name="connsiteY76" fmla="*/ 2954519 h 6858000"/>
              <a:gd name="connsiteX77" fmla="*/ 502018 w 5734864"/>
              <a:gd name="connsiteY77" fmla="*/ 2959643 h 6858000"/>
              <a:gd name="connsiteX78" fmla="*/ 498360 w 5734864"/>
              <a:gd name="connsiteY78" fmla="*/ 2961019 h 6858000"/>
              <a:gd name="connsiteX79" fmla="*/ 498483 w 5734864"/>
              <a:gd name="connsiteY79" fmla="*/ 2962590 h 6858000"/>
              <a:gd name="connsiteX80" fmla="*/ 484403 w 5734864"/>
              <a:gd name="connsiteY80" fmla="*/ 2990538 h 6858000"/>
              <a:gd name="connsiteX81" fmla="*/ 463075 w 5734864"/>
              <a:gd name="connsiteY81" fmla="*/ 3055956 h 6858000"/>
              <a:gd name="connsiteX82" fmla="*/ 455013 w 5734864"/>
              <a:gd name="connsiteY82" fmla="*/ 3094482 h 6858000"/>
              <a:gd name="connsiteX83" fmla="*/ 428391 w 5734864"/>
              <a:gd name="connsiteY83" fmla="*/ 3198850 h 6858000"/>
              <a:gd name="connsiteX84" fmla="*/ 401440 w 5734864"/>
              <a:gd name="connsiteY84" fmla="*/ 3307560 h 6858000"/>
              <a:gd name="connsiteX85" fmla="*/ 386076 w 5734864"/>
              <a:gd name="connsiteY85" fmla="*/ 3373943 h 6858000"/>
              <a:gd name="connsiteX86" fmla="*/ 374726 w 5734864"/>
              <a:gd name="connsiteY86" fmla="*/ 3381364 h 6858000"/>
              <a:gd name="connsiteX87" fmla="*/ 369145 w 5734864"/>
              <a:gd name="connsiteY87" fmla="*/ 3383729 h 6858000"/>
              <a:gd name="connsiteX88" fmla="*/ 364294 w 5734864"/>
              <a:gd name="connsiteY88" fmla="*/ 3414159 h 6858000"/>
              <a:gd name="connsiteX89" fmla="*/ 366450 w 5734864"/>
              <a:gd name="connsiteY89" fmla="*/ 3436925 h 6858000"/>
              <a:gd name="connsiteX90" fmla="*/ 351743 w 5734864"/>
              <a:gd name="connsiteY90" fmla="*/ 3521619 h 6858000"/>
              <a:gd name="connsiteX91" fmla="*/ 345784 w 5734864"/>
              <a:gd name="connsiteY91" fmla="*/ 3603757 h 6858000"/>
              <a:gd name="connsiteX92" fmla="*/ 344198 w 5734864"/>
              <a:gd name="connsiteY92" fmla="*/ 3652424 h 6858000"/>
              <a:gd name="connsiteX93" fmla="*/ 352450 w 5734864"/>
              <a:gd name="connsiteY93" fmla="*/ 3665222 h 6858000"/>
              <a:gd name="connsiteX94" fmla="*/ 342621 w 5734864"/>
              <a:gd name="connsiteY94" fmla="*/ 3700804 h 6858000"/>
              <a:gd name="connsiteX95" fmla="*/ 341514 w 5734864"/>
              <a:gd name="connsiteY95" fmla="*/ 3734774 h 6858000"/>
              <a:gd name="connsiteX96" fmla="*/ 340607 w 5734864"/>
              <a:gd name="connsiteY96" fmla="*/ 3785153 h 6858000"/>
              <a:gd name="connsiteX97" fmla="*/ 340707 w 5734864"/>
              <a:gd name="connsiteY97" fmla="*/ 3788177 h 6858000"/>
              <a:gd name="connsiteX98" fmla="*/ 340361 w 5734864"/>
              <a:gd name="connsiteY98" fmla="*/ 3798803 h 6858000"/>
              <a:gd name="connsiteX99" fmla="*/ 339642 w 5734864"/>
              <a:gd name="connsiteY99" fmla="*/ 3838750 h 6858000"/>
              <a:gd name="connsiteX100" fmla="*/ 360295 w 5734864"/>
              <a:gd name="connsiteY100" fmla="*/ 4015196 h 6858000"/>
              <a:gd name="connsiteX101" fmla="*/ 339043 w 5734864"/>
              <a:gd name="connsiteY101" fmla="*/ 4052778 h 6858000"/>
              <a:gd name="connsiteX102" fmla="*/ 339343 w 5734864"/>
              <a:gd name="connsiteY102" fmla="*/ 4096257 h 6858000"/>
              <a:gd name="connsiteX103" fmla="*/ 340786 w 5734864"/>
              <a:gd name="connsiteY103" fmla="*/ 4321136 h 6858000"/>
              <a:gd name="connsiteX104" fmla="*/ 343158 w 5734864"/>
              <a:gd name="connsiteY104" fmla="*/ 4429174 h 6858000"/>
              <a:gd name="connsiteX105" fmla="*/ 334599 w 5734864"/>
              <a:gd name="connsiteY105" fmla="*/ 4449938 h 6858000"/>
              <a:gd name="connsiteX106" fmla="*/ 332890 w 5734864"/>
              <a:gd name="connsiteY106" fmla="*/ 4453515 h 6858000"/>
              <a:gd name="connsiteX107" fmla="*/ 331105 w 5734864"/>
              <a:gd name="connsiteY107" fmla="*/ 4467941 h 6858000"/>
              <a:gd name="connsiteX108" fmla="*/ 324289 w 5734864"/>
              <a:gd name="connsiteY108" fmla="*/ 4471861 h 6858000"/>
              <a:gd name="connsiteX109" fmla="*/ 317079 w 5734864"/>
              <a:gd name="connsiteY109" fmla="*/ 4493468 h 6858000"/>
              <a:gd name="connsiteX110" fmla="*/ 315557 w 5734864"/>
              <a:gd name="connsiteY110" fmla="*/ 4520067 h 6858000"/>
              <a:gd name="connsiteX111" fmla="*/ 315240 w 5734864"/>
              <a:gd name="connsiteY111" fmla="*/ 4536872 h 6858000"/>
              <a:gd name="connsiteX112" fmla="*/ 316200 w 5734864"/>
              <a:gd name="connsiteY112" fmla="*/ 4538297 h 6858000"/>
              <a:gd name="connsiteX113" fmla="*/ 317507 w 5734864"/>
              <a:gd name="connsiteY113" fmla="*/ 4547582 h 6858000"/>
              <a:gd name="connsiteX114" fmla="*/ 323078 w 5734864"/>
              <a:gd name="connsiteY114" fmla="*/ 4592102 h 6858000"/>
              <a:gd name="connsiteX115" fmla="*/ 328722 w 5734864"/>
              <a:gd name="connsiteY115" fmla="*/ 4667914 h 6858000"/>
              <a:gd name="connsiteX116" fmla="*/ 335597 w 5734864"/>
              <a:gd name="connsiteY116" fmla="*/ 4695035 h 6858000"/>
              <a:gd name="connsiteX117" fmla="*/ 339485 w 5734864"/>
              <a:gd name="connsiteY117" fmla="*/ 4695979 h 6858000"/>
              <a:gd name="connsiteX118" fmla="*/ 341089 w 5734864"/>
              <a:gd name="connsiteY118" fmla="*/ 4704268 h 6858000"/>
              <a:gd name="connsiteX119" fmla="*/ 342177 w 5734864"/>
              <a:gd name="connsiteY119" fmla="*/ 4706060 h 6858000"/>
              <a:gd name="connsiteX120" fmla="*/ 347751 w 5734864"/>
              <a:gd name="connsiteY120" fmla="*/ 4716754 h 6858000"/>
              <a:gd name="connsiteX121" fmla="*/ 344125 w 5734864"/>
              <a:gd name="connsiteY121" fmla="*/ 4764669 h 6858000"/>
              <a:gd name="connsiteX122" fmla="*/ 340188 w 5734864"/>
              <a:gd name="connsiteY122" fmla="*/ 4779386 h 6858000"/>
              <a:gd name="connsiteX123" fmla="*/ 335146 w 5734864"/>
              <a:gd name="connsiteY123" fmla="*/ 4787491 h 6858000"/>
              <a:gd name="connsiteX124" fmla="*/ 319124 w 5734864"/>
              <a:gd name="connsiteY124" fmla="*/ 4843514 h 6858000"/>
              <a:gd name="connsiteX125" fmla="*/ 305956 w 5734864"/>
              <a:gd name="connsiteY125" fmla="*/ 4881505 h 6858000"/>
              <a:gd name="connsiteX126" fmla="*/ 301062 w 5734864"/>
              <a:gd name="connsiteY126" fmla="*/ 4889332 h 6858000"/>
              <a:gd name="connsiteX127" fmla="*/ 302141 w 5734864"/>
              <a:gd name="connsiteY127" fmla="*/ 4899400 h 6858000"/>
              <a:gd name="connsiteX128" fmla="*/ 304424 w 5734864"/>
              <a:gd name="connsiteY128" fmla="*/ 4902664 h 6858000"/>
              <a:gd name="connsiteX129" fmla="*/ 293123 w 5734864"/>
              <a:gd name="connsiteY129" fmla="*/ 4932769 h 6858000"/>
              <a:gd name="connsiteX130" fmla="*/ 292275 w 5734864"/>
              <a:gd name="connsiteY130" fmla="*/ 4936482 h 6858000"/>
              <a:gd name="connsiteX131" fmla="*/ 288304 w 5734864"/>
              <a:gd name="connsiteY131" fmla="*/ 4962325 h 6858000"/>
              <a:gd name="connsiteX132" fmla="*/ 287420 w 5734864"/>
              <a:gd name="connsiteY132" fmla="*/ 5042193 h 6858000"/>
              <a:gd name="connsiteX133" fmla="*/ 287020 w 5734864"/>
              <a:gd name="connsiteY133" fmla="*/ 5065655 h 6858000"/>
              <a:gd name="connsiteX134" fmla="*/ 288488 w 5734864"/>
              <a:gd name="connsiteY134" fmla="*/ 5082216 h 6858000"/>
              <a:gd name="connsiteX135" fmla="*/ 282763 w 5734864"/>
              <a:gd name="connsiteY135" fmla="*/ 5127114 h 6858000"/>
              <a:gd name="connsiteX136" fmla="*/ 269316 w 5734864"/>
              <a:gd name="connsiteY136" fmla="*/ 5202682 h 6858000"/>
              <a:gd name="connsiteX137" fmla="*/ 269174 w 5734864"/>
              <a:gd name="connsiteY137" fmla="*/ 5230835 h 6858000"/>
              <a:gd name="connsiteX138" fmla="*/ 272679 w 5734864"/>
              <a:gd name="connsiteY138" fmla="*/ 5232660 h 6858000"/>
              <a:gd name="connsiteX139" fmla="*/ 272160 w 5734864"/>
              <a:gd name="connsiteY139" fmla="*/ 5241150 h 6858000"/>
              <a:gd name="connsiteX140" fmla="*/ 272760 w 5734864"/>
              <a:gd name="connsiteY140" fmla="*/ 5243156 h 6858000"/>
              <a:gd name="connsiteX141" fmla="*/ 275462 w 5734864"/>
              <a:gd name="connsiteY141" fmla="*/ 5254919 h 6858000"/>
              <a:gd name="connsiteX142" fmla="*/ 262897 w 5734864"/>
              <a:gd name="connsiteY142" fmla="*/ 5286259 h 6858000"/>
              <a:gd name="connsiteX143" fmla="*/ 252761 w 5734864"/>
              <a:gd name="connsiteY143" fmla="*/ 5357801 h 6858000"/>
              <a:gd name="connsiteX144" fmla="*/ 242360 w 5734864"/>
              <a:gd name="connsiteY144" fmla="*/ 5460080 h 6858000"/>
              <a:gd name="connsiteX145" fmla="*/ 229880 w 5734864"/>
              <a:gd name="connsiteY145" fmla="*/ 5539714 h 6858000"/>
              <a:gd name="connsiteX146" fmla="*/ 204283 w 5734864"/>
              <a:gd name="connsiteY146" fmla="*/ 5639080 h 6858000"/>
              <a:gd name="connsiteX147" fmla="*/ 198948 w 5734864"/>
              <a:gd name="connsiteY147" fmla="*/ 5710958 h 6858000"/>
              <a:gd name="connsiteX148" fmla="*/ 192367 w 5734864"/>
              <a:gd name="connsiteY148" fmla="*/ 5719859 h 6858000"/>
              <a:gd name="connsiteX149" fmla="*/ 188035 w 5734864"/>
              <a:gd name="connsiteY149" fmla="*/ 5729935 h 6858000"/>
              <a:gd name="connsiteX150" fmla="*/ 188428 w 5734864"/>
              <a:gd name="connsiteY150" fmla="*/ 5731182 h 6858000"/>
              <a:gd name="connsiteX151" fmla="*/ 181635 w 5734864"/>
              <a:gd name="connsiteY151" fmla="*/ 5753538 h 6858000"/>
              <a:gd name="connsiteX152" fmla="*/ 169744 w 5734864"/>
              <a:gd name="connsiteY152" fmla="*/ 5796307 h 6858000"/>
              <a:gd name="connsiteX153" fmla="*/ 170351 w 5734864"/>
              <a:gd name="connsiteY153" fmla="*/ 5796644 h 6858000"/>
              <a:gd name="connsiteX154" fmla="*/ 171559 w 5734864"/>
              <a:gd name="connsiteY154" fmla="*/ 5803435 h 6858000"/>
              <a:gd name="connsiteX155" fmla="*/ 172284 w 5734864"/>
              <a:gd name="connsiteY155" fmla="*/ 5816391 h 6858000"/>
              <a:gd name="connsiteX156" fmla="*/ 182542 w 5734864"/>
              <a:gd name="connsiteY156" fmla="*/ 5846382 h 6858000"/>
              <a:gd name="connsiteX157" fmla="*/ 175877 w 5734864"/>
              <a:gd name="connsiteY157" fmla="*/ 5871336 h 6858000"/>
              <a:gd name="connsiteX158" fmla="*/ 174910 w 5734864"/>
              <a:gd name="connsiteY158" fmla="*/ 5876376 h 6858000"/>
              <a:gd name="connsiteX159" fmla="*/ 175047 w 5734864"/>
              <a:gd name="connsiteY159" fmla="*/ 5876483 h 6858000"/>
              <a:gd name="connsiteX160" fmla="*/ 174335 w 5734864"/>
              <a:gd name="connsiteY160" fmla="*/ 5881814 h 6858000"/>
              <a:gd name="connsiteX161" fmla="*/ 171273 w 5734864"/>
              <a:gd name="connsiteY161" fmla="*/ 5895339 h 6858000"/>
              <a:gd name="connsiteX162" fmla="*/ 171658 w 5734864"/>
              <a:gd name="connsiteY162" fmla="*/ 5898749 h 6858000"/>
              <a:gd name="connsiteX163" fmla="*/ 174658 w 5734864"/>
              <a:gd name="connsiteY163" fmla="*/ 5919558 h 6858000"/>
              <a:gd name="connsiteX164" fmla="*/ 169099 w 5734864"/>
              <a:gd name="connsiteY164" fmla="*/ 5984417 h 6858000"/>
              <a:gd name="connsiteX165" fmla="*/ 162007 w 5734864"/>
              <a:gd name="connsiteY165" fmla="*/ 6049043 h 6858000"/>
              <a:gd name="connsiteX166" fmla="*/ 156875 w 5734864"/>
              <a:gd name="connsiteY166" fmla="*/ 6114000 h 6858000"/>
              <a:gd name="connsiteX167" fmla="*/ 165441 w 5734864"/>
              <a:gd name="connsiteY167" fmla="*/ 6146938 h 6858000"/>
              <a:gd name="connsiteX168" fmla="*/ 165177 w 5734864"/>
              <a:gd name="connsiteY168" fmla="*/ 6150658 h 6858000"/>
              <a:gd name="connsiteX169" fmla="*/ 161772 w 5734864"/>
              <a:gd name="connsiteY169" fmla="*/ 6160011 h 6858000"/>
              <a:gd name="connsiteX170" fmla="*/ 160051 w 5734864"/>
              <a:gd name="connsiteY170" fmla="*/ 6163393 h 6858000"/>
              <a:gd name="connsiteX171" fmla="*/ 158473 w 5734864"/>
              <a:gd name="connsiteY171" fmla="*/ 6168628 h 6858000"/>
              <a:gd name="connsiteX172" fmla="*/ 158573 w 5734864"/>
              <a:gd name="connsiteY172" fmla="*/ 6168799 h 6858000"/>
              <a:gd name="connsiteX173" fmla="*/ 146463 w 5734864"/>
              <a:gd name="connsiteY173" fmla="*/ 6196671 h 6858000"/>
              <a:gd name="connsiteX174" fmla="*/ 150209 w 5734864"/>
              <a:gd name="connsiteY174" fmla="*/ 6232365 h 6858000"/>
              <a:gd name="connsiteX175" fmla="*/ 148544 w 5734864"/>
              <a:gd name="connsiteY175" fmla="*/ 6246162 h 6858000"/>
              <a:gd name="connsiteX176" fmla="*/ 148403 w 5734864"/>
              <a:gd name="connsiteY176" fmla="*/ 6253754 h 6858000"/>
              <a:gd name="connsiteX177" fmla="*/ 138880 w 5734864"/>
              <a:gd name="connsiteY177" fmla="*/ 6276449 h 6858000"/>
              <a:gd name="connsiteX178" fmla="*/ 138683 w 5734864"/>
              <a:gd name="connsiteY178" fmla="*/ 6279721 h 6858000"/>
              <a:gd name="connsiteX179" fmla="*/ 130721 w 5734864"/>
              <a:gd name="connsiteY179" fmla="*/ 6293675 h 6858000"/>
              <a:gd name="connsiteX180" fmla="*/ 120717 w 5734864"/>
              <a:gd name="connsiteY180" fmla="*/ 6313967 h 6858000"/>
              <a:gd name="connsiteX181" fmla="*/ 120841 w 5734864"/>
              <a:gd name="connsiteY181" fmla="*/ 6315437 h 6858000"/>
              <a:gd name="connsiteX182" fmla="*/ 115208 w 5734864"/>
              <a:gd name="connsiteY182" fmla="*/ 6324024 h 6858000"/>
              <a:gd name="connsiteX183" fmla="*/ 101217 w 5734864"/>
              <a:gd name="connsiteY183" fmla="*/ 6365923 h 6858000"/>
              <a:gd name="connsiteX184" fmla="*/ 74946 w 5734864"/>
              <a:gd name="connsiteY184" fmla="*/ 6556817 h 6858000"/>
              <a:gd name="connsiteX185" fmla="*/ 16001 w 5734864"/>
              <a:gd name="connsiteY185" fmla="*/ 6808678 h 6858000"/>
              <a:gd name="connsiteX186" fmla="*/ 0 w 5734864"/>
              <a:gd name="connsiteY186" fmla="*/ 6858000 h 6858000"/>
              <a:gd name="connsiteX187" fmla="*/ 5734864 w 5734864"/>
              <a:gd name="connsiteY187" fmla="*/ 6858000 h 6858000"/>
              <a:gd name="connsiteX188" fmla="*/ 5734864 w 5734864"/>
              <a:gd name="connsiteY188" fmla="*/ 0 h 6858000"/>
              <a:gd name="connsiteX0" fmla="*/ 5734864 w 5734864"/>
              <a:gd name="connsiteY0" fmla="*/ 0 h 6858000"/>
              <a:gd name="connsiteX1" fmla="*/ 771611 w 5734864"/>
              <a:gd name="connsiteY1" fmla="*/ 0 h 6858000"/>
              <a:gd name="connsiteX2" fmla="*/ 771679 w 5734864"/>
              <a:gd name="connsiteY2" fmla="*/ 49108 h 6858000"/>
              <a:gd name="connsiteX3" fmla="*/ 794248 w 5734864"/>
              <a:gd name="connsiteY3" fmla="*/ 200968 h 6858000"/>
              <a:gd name="connsiteX4" fmla="*/ 801749 w 5734864"/>
              <a:gd name="connsiteY4" fmla="*/ 414071 h 6858000"/>
              <a:gd name="connsiteX5" fmla="*/ 818548 w 5734864"/>
              <a:gd name="connsiteY5" fmla="*/ 585467 h 6858000"/>
              <a:gd name="connsiteX6" fmla="*/ 857476 w 5734864"/>
              <a:gd name="connsiteY6" fmla="*/ 800623 h 6858000"/>
              <a:gd name="connsiteX7" fmla="*/ 851083 w 5734864"/>
              <a:gd name="connsiteY7" fmla="*/ 878903 h 6858000"/>
              <a:gd name="connsiteX8" fmla="*/ 873564 w 5734864"/>
              <a:gd name="connsiteY8" fmla="*/ 943826 h 6858000"/>
              <a:gd name="connsiteX9" fmla="*/ 864705 w 5734864"/>
              <a:gd name="connsiteY9" fmla="*/ 973328 h 6858000"/>
              <a:gd name="connsiteX10" fmla="*/ 862869 w 5734864"/>
              <a:gd name="connsiteY10" fmla="*/ 978457 h 6858000"/>
              <a:gd name="connsiteX11" fmla="*/ 862233 w 5734864"/>
              <a:gd name="connsiteY11" fmla="*/ 998041 h 6858000"/>
              <a:gd name="connsiteX12" fmla="*/ 853665 w 5734864"/>
              <a:gd name="connsiteY12" fmla="*/ 1004750 h 6858000"/>
              <a:gd name="connsiteX13" fmla="*/ 847865 w 5734864"/>
              <a:gd name="connsiteY13" fmla="*/ 1070795 h 6858000"/>
              <a:gd name="connsiteX14" fmla="*/ 862786 w 5734864"/>
              <a:gd name="connsiteY14" fmla="*/ 1238994 h 6858000"/>
              <a:gd name="connsiteX15" fmla="*/ 859345 w 5734864"/>
              <a:gd name="connsiteY15" fmla="*/ 1380427 h 6858000"/>
              <a:gd name="connsiteX16" fmla="*/ 855172 w 5734864"/>
              <a:gd name="connsiteY16" fmla="*/ 1435262 h 6858000"/>
              <a:gd name="connsiteX17" fmla="*/ 860494 w 5734864"/>
              <a:gd name="connsiteY17" fmla="*/ 1453861 h 6858000"/>
              <a:gd name="connsiteX18" fmla="*/ 853731 w 5734864"/>
              <a:gd name="connsiteY18" fmla="*/ 1467047 h 6858000"/>
              <a:gd name="connsiteX19" fmla="*/ 845847 w 5734864"/>
              <a:gd name="connsiteY19" fmla="*/ 1502307 h 6858000"/>
              <a:gd name="connsiteX20" fmla="*/ 817613 w 5734864"/>
              <a:gd name="connsiteY20" fmla="*/ 1565166 h 6858000"/>
              <a:gd name="connsiteX21" fmla="*/ 804223 w 5734864"/>
              <a:gd name="connsiteY21" fmla="*/ 1601941 h 6858000"/>
              <a:gd name="connsiteX22" fmla="*/ 791773 w 5734864"/>
              <a:gd name="connsiteY22" fmla="*/ 1627005 h 6858000"/>
              <a:gd name="connsiteX23" fmla="*/ 774645 w 5734864"/>
              <a:gd name="connsiteY23" fmla="*/ 1699922 h 6858000"/>
              <a:gd name="connsiteX24" fmla="*/ 752343 w 5734864"/>
              <a:gd name="connsiteY24" fmla="*/ 1824604 h 6858000"/>
              <a:gd name="connsiteX25" fmla="*/ 746254 w 5734864"/>
              <a:gd name="connsiteY25" fmla="*/ 1850222 h 6858000"/>
              <a:gd name="connsiteX26" fmla="*/ 728600 w 5734864"/>
              <a:gd name="connsiteY26" fmla="*/ 1869603 h 6858000"/>
              <a:gd name="connsiteX27" fmla="*/ 724396 w 5734864"/>
              <a:gd name="connsiteY27" fmla="*/ 1883104 h 6858000"/>
              <a:gd name="connsiteX28" fmla="*/ 722165 w 5734864"/>
              <a:gd name="connsiteY28" fmla="*/ 1885924 h 6858000"/>
              <a:gd name="connsiteX29" fmla="*/ 721338 w 5734864"/>
              <a:gd name="connsiteY29" fmla="*/ 1887123 h 6858000"/>
              <a:gd name="connsiteX30" fmla="*/ 714840 w 5734864"/>
              <a:gd name="connsiteY30" fmla="*/ 1902274 h 6858000"/>
              <a:gd name="connsiteX31" fmla="*/ 722847 w 5734864"/>
              <a:gd name="connsiteY31" fmla="*/ 1929891 h 6858000"/>
              <a:gd name="connsiteX32" fmla="*/ 714660 w 5734864"/>
              <a:gd name="connsiteY32" fmla="*/ 1982709 h 6858000"/>
              <a:gd name="connsiteX33" fmla="*/ 710759 w 5734864"/>
              <a:gd name="connsiteY33" fmla="*/ 2013010 h 6858000"/>
              <a:gd name="connsiteX34" fmla="*/ 697927 w 5734864"/>
              <a:gd name="connsiteY34" fmla="*/ 2069833 h 6858000"/>
              <a:gd name="connsiteX35" fmla="*/ 693594 w 5734864"/>
              <a:gd name="connsiteY35" fmla="*/ 2103731 h 6858000"/>
              <a:gd name="connsiteX36" fmla="*/ 691109 w 5734864"/>
              <a:gd name="connsiteY36" fmla="*/ 2124027 h 6858000"/>
              <a:gd name="connsiteX37" fmla="*/ 676593 w 5734864"/>
              <a:gd name="connsiteY37" fmla="*/ 2176182 h 6858000"/>
              <a:gd name="connsiteX38" fmla="*/ 633227 w 5734864"/>
              <a:gd name="connsiteY38" fmla="*/ 2258036 h 6858000"/>
              <a:gd name="connsiteX39" fmla="*/ 625564 w 5734864"/>
              <a:gd name="connsiteY39" fmla="*/ 2284567 h 6858000"/>
              <a:gd name="connsiteX40" fmla="*/ 627074 w 5734864"/>
              <a:gd name="connsiteY40" fmla="*/ 2289605 h 6858000"/>
              <a:gd name="connsiteX41" fmla="*/ 614574 w 5734864"/>
              <a:gd name="connsiteY41" fmla="*/ 2308717 h 6858000"/>
              <a:gd name="connsiteX42" fmla="*/ 606890 w 5734864"/>
              <a:gd name="connsiteY42" fmla="*/ 2320662 h 6858000"/>
              <a:gd name="connsiteX43" fmla="*/ 605558 w 5734864"/>
              <a:gd name="connsiteY43" fmla="*/ 2327897 h 6858000"/>
              <a:gd name="connsiteX44" fmla="*/ 602202 w 5734864"/>
              <a:gd name="connsiteY44" fmla="*/ 2357749 h 6858000"/>
              <a:gd name="connsiteX45" fmla="*/ 600213 w 5734864"/>
              <a:gd name="connsiteY45" fmla="*/ 2364905 h 6858000"/>
              <a:gd name="connsiteX46" fmla="*/ 597160 w 5734864"/>
              <a:gd name="connsiteY46" fmla="*/ 2388351 h 6858000"/>
              <a:gd name="connsiteX47" fmla="*/ 597982 w 5734864"/>
              <a:gd name="connsiteY47" fmla="*/ 2402296 h 6858000"/>
              <a:gd name="connsiteX48" fmla="*/ 593150 w 5734864"/>
              <a:gd name="connsiteY48" fmla="*/ 2420015 h 6858000"/>
              <a:gd name="connsiteX49" fmla="*/ 592833 w 5734864"/>
              <a:gd name="connsiteY49" fmla="*/ 2422749 h 6858000"/>
              <a:gd name="connsiteX50" fmla="*/ 594479 w 5734864"/>
              <a:gd name="connsiteY50" fmla="*/ 2426002 h 6858000"/>
              <a:gd name="connsiteX51" fmla="*/ 591963 w 5734864"/>
              <a:gd name="connsiteY51" fmla="*/ 2431950 h 6858000"/>
              <a:gd name="connsiteX52" fmla="*/ 591544 w 5734864"/>
              <a:gd name="connsiteY52" fmla="*/ 2433897 h 6858000"/>
              <a:gd name="connsiteX53" fmla="*/ 589519 w 5734864"/>
              <a:gd name="connsiteY53" fmla="*/ 2451398 h 6858000"/>
              <a:gd name="connsiteX54" fmla="*/ 590037 w 5734864"/>
              <a:gd name="connsiteY54" fmla="*/ 2455536 h 6858000"/>
              <a:gd name="connsiteX55" fmla="*/ 588179 w 5734864"/>
              <a:gd name="connsiteY55" fmla="*/ 2462981 h 6858000"/>
              <a:gd name="connsiteX56" fmla="*/ 583434 w 5734864"/>
              <a:gd name="connsiteY56" fmla="*/ 2503991 h 6858000"/>
              <a:gd name="connsiteX57" fmla="*/ 567942 w 5734864"/>
              <a:gd name="connsiteY57" fmla="*/ 2652936 h 6858000"/>
              <a:gd name="connsiteX58" fmla="*/ 573869 w 5734864"/>
              <a:gd name="connsiteY58" fmla="*/ 2670188 h 6858000"/>
              <a:gd name="connsiteX59" fmla="*/ 575243 w 5734864"/>
              <a:gd name="connsiteY59" fmla="*/ 2688114 h 6858000"/>
              <a:gd name="connsiteX60" fmla="*/ 573824 w 5734864"/>
              <a:gd name="connsiteY60" fmla="*/ 2689856 h 6858000"/>
              <a:gd name="connsiteX61" fmla="*/ 570699 w 5734864"/>
              <a:gd name="connsiteY61" fmla="*/ 2709353 h 6858000"/>
              <a:gd name="connsiteX62" fmla="*/ 573192 w 5734864"/>
              <a:gd name="connsiteY62" fmla="*/ 2714527 h 6858000"/>
              <a:gd name="connsiteX63" fmla="*/ 572044 w 5734864"/>
              <a:gd name="connsiteY63" fmla="*/ 2728187 h 6858000"/>
              <a:gd name="connsiteX64" fmla="*/ 572465 w 5734864"/>
              <a:gd name="connsiteY64" fmla="*/ 2755863 h 6858000"/>
              <a:gd name="connsiteX65" fmla="*/ 570028 w 5734864"/>
              <a:gd name="connsiteY65" fmla="*/ 2760324 h 6858000"/>
              <a:gd name="connsiteX66" fmla="*/ 566748 w 5734864"/>
              <a:gd name="connsiteY66" fmla="*/ 2800948 h 6858000"/>
              <a:gd name="connsiteX67" fmla="*/ 565509 w 5734864"/>
              <a:gd name="connsiteY67" fmla="*/ 2801167 h 6858000"/>
              <a:gd name="connsiteX68" fmla="*/ 559367 w 5734864"/>
              <a:gd name="connsiteY68" fmla="*/ 2811129 h 6858000"/>
              <a:gd name="connsiteX69" fmla="*/ 550354 w 5734864"/>
              <a:gd name="connsiteY69" fmla="*/ 2830949 h 6858000"/>
              <a:gd name="connsiteX70" fmla="*/ 514795 w 5734864"/>
              <a:gd name="connsiteY70" fmla="*/ 2872433 h 6858000"/>
              <a:gd name="connsiteX71" fmla="*/ 509875 w 5734864"/>
              <a:gd name="connsiteY71" fmla="*/ 2923099 h 6858000"/>
              <a:gd name="connsiteX72" fmla="*/ 509577 w 5734864"/>
              <a:gd name="connsiteY72" fmla="*/ 2923197 h 6858000"/>
              <a:gd name="connsiteX73" fmla="*/ 507597 w 5734864"/>
              <a:gd name="connsiteY73" fmla="*/ 2931868 h 6858000"/>
              <a:gd name="connsiteX74" fmla="*/ 507379 w 5734864"/>
              <a:gd name="connsiteY74" fmla="*/ 2938322 h 6858000"/>
              <a:gd name="connsiteX75" fmla="*/ 504725 w 5734864"/>
              <a:gd name="connsiteY75" fmla="*/ 2954519 h 6858000"/>
              <a:gd name="connsiteX76" fmla="*/ 502018 w 5734864"/>
              <a:gd name="connsiteY76" fmla="*/ 2959643 h 6858000"/>
              <a:gd name="connsiteX77" fmla="*/ 498360 w 5734864"/>
              <a:gd name="connsiteY77" fmla="*/ 2961019 h 6858000"/>
              <a:gd name="connsiteX78" fmla="*/ 498483 w 5734864"/>
              <a:gd name="connsiteY78" fmla="*/ 2962590 h 6858000"/>
              <a:gd name="connsiteX79" fmla="*/ 484403 w 5734864"/>
              <a:gd name="connsiteY79" fmla="*/ 2990538 h 6858000"/>
              <a:gd name="connsiteX80" fmla="*/ 463075 w 5734864"/>
              <a:gd name="connsiteY80" fmla="*/ 3055956 h 6858000"/>
              <a:gd name="connsiteX81" fmla="*/ 455013 w 5734864"/>
              <a:gd name="connsiteY81" fmla="*/ 3094482 h 6858000"/>
              <a:gd name="connsiteX82" fmla="*/ 428391 w 5734864"/>
              <a:gd name="connsiteY82" fmla="*/ 3198850 h 6858000"/>
              <a:gd name="connsiteX83" fmla="*/ 401440 w 5734864"/>
              <a:gd name="connsiteY83" fmla="*/ 3307560 h 6858000"/>
              <a:gd name="connsiteX84" fmla="*/ 386076 w 5734864"/>
              <a:gd name="connsiteY84" fmla="*/ 3373943 h 6858000"/>
              <a:gd name="connsiteX85" fmla="*/ 374726 w 5734864"/>
              <a:gd name="connsiteY85" fmla="*/ 3381364 h 6858000"/>
              <a:gd name="connsiteX86" fmla="*/ 369145 w 5734864"/>
              <a:gd name="connsiteY86" fmla="*/ 3383729 h 6858000"/>
              <a:gd name="connsiteX87" fmla="*/ 364294 w 5734864"/>
              <a:gd name="connsiteY87" fmla="*/ 3414159 h 6858000"/>
              <a:gd name="connsiteX88" fmla="*/ 366450 w 5734864"/>
              <a:gd name="connsiteY88" fmla="*/ 3436925 h 6858000"/>
              <a:gd name="connsiteX89" fmla="*/ 351743 w 5734864"/>
              <a:gd name="connsiteY89" fmla="*/ 3521619 h 6858000"/>
              <a:gd name="connsiteX90" fmla="*/ 345784 w 5734864"/>
              <a:gd name="connsiteY90" fmla="*/ 3603757 h 6858000"/>
              <a:gd name="connsiteX91" fmla="*/ 344198 w 5734864"/>
              <a:gd name="connsiteY91" fmla="*/ 3652424 h 6858000"/>
              <a:gd name="connsiteX92" fmla="*/ 352450 w 5734864"/>
              <a:gd name="connsiteY92" fmla="*/ 3665222 h 6858000"/>
              <a:gd name="connsiteX93" fmla="*/ 342621 w 5734864"/>
              <a:gd name="connsiteY93" fmla="*/ 3700804 h 6858000"/>
              <a:gd name="connsiteX94" fmla="*/ 341514 w 5734864"/>
              <a:gd name="connsiteY94" fmla="*/ 3734774 h 6858000"/>
              <a:gd name="connsiteX95" fmla="*/ 340607 w 5734864"/>
              <a:gd name="connsiteY95" fmla="*/ 3785153 h 6858000"/>
              <a:gd name="connsiteX96" fmla="*/ 340707 w 5734864"/>
              <a:gd name="connsiteY96" fmla="*/ 3788177 h 6858000"/>
              <a:gd name="connsiteX97" fmla="*/ 340361 w 5734864"/>
              <a:gd name="connsiteY97" fmla="*/ 3798803 h 6858000"/>
              <a:gd name="connsiteX98" fmla="*/ 339642 w 5734864"/>
              <a:gd name="connsiteY98" fmla="*/ 3838750 h 6858000"/>
              <a:gd name="connsiteX99" fmla="*/ 360295 w 5734864"/>
              <a:gd name="connsiteY99" fmla="*/ 4015196 h 6858000"/>
              <a:gd name="connsiteX100" fmla="*/ 339043 w 5734864"/>
              <a:gd name="connsiteY100" fmla="*/ 4052778 h 6858000"/>
              <a:gd name="connsiteX101" fmla="*/ 339343 w 5734864"/>
              <a:gd name="connsiteY101" fmla="*/ 4096257 h 6858000"/>
              <a:gd name="connsiteX102" fmla="*/ 340786 w 5734864"/>
              <a:gd name="connsiteY102" fmla="*/ 4321136 h 6858000"/>
              <a:gd name="connsiteX103" fmla="*/ 343158 w 5734864"/>
              <a:gd name="connsiteY103" fmla="*/ 4429174 h 6858000"/>
              <a:gd name="connsiteX104" fmla="*/ 334599 w 5734864"/>
              <a:gd name="connsiteY104" fmla="*/ 4449938 h 6858000"/>
              <a:gd name="connsiteX105" fmla="*/ 332890 w 5734864"/>
              <a:gd name="connsiteY105" fmla="*/ 4453515 h 6858000"/>
              <a:gd name="connsiteX106" fmla="*/ 331105 w 5734864"/>
              <a:gd name="connsiteY106" fmla="*/ 4467941 h 6858000"/>
              <a:gd name="connsiteX107" fmla="*/ 324289 w 5734864"/>
              <a:gd name="connsiteY107" fmla="*/ 4471861 h 6858000"/>
              <a:gd name="connsiteX108" fmla="*/ 317079 w 5734864"/>
              <a:gd name="connsiteY108" fmla="*/ 4493468 h 6858000"/>
              <a:gd name="connsiteX109" fmla="*/ 315557 w 5734864"/>
              <a:gd name="connsiteY109" fmla="*/ 4520067 h 6858000"/>
              <a:gd name="connsiteX110" fmla="*/ 315240 w 5734864"/>
              <a:gd name="connsiteY110" fmla="*/ 4536872 h 6858000"/>
              <a:gd name="connsiteX111" fmla="*/ 316200 w 5734864"/>
              <a:gd name="connsiteY111" fmla="*/ 4538297 h 6858000"/>
              <a:gd name="connsiteX112" fmla="*/ 317507 w 5734864"/>
              <a:gd name="connsiteY112" fmla="*/ 4547582 h 6858000"/>
              <a:gd name="connsiteX113" fmla="*/ 323078 w 5734864"/>
              <a:gd name="connsiteY113" fmla="*/ 4592102 h 6858000"/>
              <a:gd name="connsiteX114" fmla="*/ 328722 w 5734864"/>
              <a:gd name="connsiteY114" fmla="*/ 4667914 h 6858000"/>
              <a:gd name="connsiteX115" fmla="*/ 335597 w 5734864"/>
              <a:gd name="connsiteY115" fmla="*/ 4695035 h 6858000"/>
              <a:gd name="connsiteX116" fmla="*/ 339485 w 5734864"/>
              <a:gd name="connsiteY116" fmla="*/ 4695979 h 6858000"/>
              <a:gd name="connsiteX117" fmla="*/ 341089 w 5734864"/>
              <a:gd name="connsiteY117" fmla="*/ 4704268 h 6858000"/>
              <a:gd name="connsiteX118" fmla="*/ 342177 w 5734864"/>
              <a:gd name="connsiteY118" fmla="*/ 4706060 h 6858000"/>
              <a:gd name="connsiteX119" fmla="*/ 347751 w 5734864"/>
              <a:gd name="connsiteY119" fmla="*/ 4716754 h 6858000"/>
              <a:gd name="connsiteX120" fmla="*/ 344125 w 5734864"/>
              <a:gd name="connsiteY120" fmla="*/ 4764669 h 6858000"/>
              <a:gd name="connsiteX121" fmla="*/ 340188 w 5734864"/>
              <a:gd name="connsiteY121" fmla="*/ 4779386 h 6858000"/>
              <a:gd name="connsiteX122" fmla="*/ 335146 w 5734864"/>
              <a:gd name="connsiteY122" fmla="*/ 4787491 h 6858000"/>
              <a:gd name="connsiteX123" fmla="*/ 319124 w 5734864"/>
              <a:gd name="connsiteY123" fmla="*/ 4843514 h 6858000"/>
              <a:gd name="connsiteX124" fmla="*/ 305956 w 5734864"/>
              <a:gd name="connsiteY124" fmla="*/ 4881505 h 6858000"/>
              <a:gd name="connsiteX125" fmla="*/ 301062 w 5734864"/>
              <a:gd name="connsiteY125" fmla="*/ 4889332 h 6858000"/>
              <a:gd name="connsiteX126" fmla="*/ 302141 w 5734864"/>
              <a:gd name="connsiteY126" fmla="*/ 4899400 h 6858000"/>
              <a:gd name="connsiteX127" fmla="*/ 304424 w 5734864"/>
              <a:gd name="connsiteY127" fmla="*/ 4902664 h 6858000"/>
              <a:gd name="connsiteX128" fmla="*/ 293123 w 5734864"/>
              <a:gd name="connsiteY128" fmla="*/ 4932769 h 6858000"/>
              <a:gd name="connsiteX129" fmla="*/ 292275 w 5734864"/>
              <a:gd name="connsiteY129" fmla="*/ 4936482 h 6858000"/>
              <a:gd name="connsiteX130" fmla="*/ 288304 w 5734864"/>
              <a:gd name="connsiteY130" fmla="*/ 4962325 h 6858000"/>
              <a:gd name="connsiteX131" fmla="*/ 287420 w 5734864"/>
              <a:gd name="connsiteY131" fmla="*/ 5042193 h 6858000"/>
              <a:gd name="connsiteX132" fmla="*/ 287020 w 5734864"/>
              <a:gd name="connsiteY132" fmla="*/ 5065655 h 6858000"/>
              <a:gd name="connsiteX133" fmla="*/ 288488 w 5734864"/>
              <a:gd name="connsiteY133" fmla="*/ 5082216 h 6858000"/>
              <a:gd name="connsiteX134" fmla="*/ 282763 w 5734864"/>
              <a:gd name="connsiteY134" fmla="*/ 5127114 h 6858000"/>
              <a:gd name="connsiteX135" fmla="*/ 269316 w 5734864"/>
              <a:gd name="connsiteY135" fmla="*/ 5202682 h 6858000"/>
              <a:gd name="connsiteX136" fmla="*/ 269174 w 5734864"/>
              <a:gd name="connsiteY136" fmla="*/ 5230835 h 6858000"/>
              <a:gd name="connsiteX137" fmla="*/ 272679 w 5734864"/>
              <a:gd name="connsiteY137" fmla="*/ 5232660 h 6858000"/>
              <a:gd name="connsiteX138" fmla="*/ 272160 w 5734864"/>
              <a:gd name="connsiteY138" fmla="*/ 5241150 h 6858000"/>
              <a:gd name="connsiteX139" fmla="*/ 272760 w 5734864"/>
              <a:gd name="connsiteY139" fmla="*/ 5243156 h 6858000"/>
              <a:gd name="connsiteX140" fmla="*/ 275462 w 5734864"/>
              <a:gd name="connsiteY140" fmla="*/ 5254919 h 6858000"/>
              <a:gd name="connsiteX141" fmla="*/ 262897 w 5734864"/>
              <a:gd name="connsiteY141" fmla="*/ 5286259 h 6858000"/>
              <a:gd name="connsiteX142" fmla="*/ 252761 w 5734864"/>
              <a:gd name="connsiteY142" fmla="*/ 5357801 h 6858000"/>
              <a:gd name="connsiteX143" fmla="*/ 242360 w 5734864"/>
              <a:gd name="connsiteY143" fmla="*/ 5460080 h 6858000"/>
              <a:gd name="connsiteX144" fmla="*/ 229880 w 5734864"/>
              <a:gd name="connsiteY144" fmla="*/ 5539714 h 6858000"/>
              <a:gd name="connsiteX145" fmla="*/ 204283 w 5734864"/>
              <a:gd name="connsiteY145" fmla="*/ 5639080 h 6858000"/>
              <a:gd name="connsiteX146" fmla="*/ 198948 w 5734864"/>
              <a:gd name="connsiteY146" fmla="*/ 5710958 h 6858000"/>
              <a:gd name="connsiteX147" fmla="*/ 192367 w 5734864"/>
              <a:gd name="connsiteY147" fmla="*/ 5719859 h 6858000"/>
              <a:gd name="connsiteX148" fmla="*/ 188035 w 5734864"/>
              <a:gd name="connsiteY148" fmla="*/ 5729935 h 6858000"/>
              <a:gd name="connsiteX149" fmla="*/ 188428 w 5734864"/>
              <a:gd name="connsiteY149" fmla="*/ 5731182 h 6858000"/>
              <a:gd name="connsiteX150" fmla="*/ 181635 w 5734864"/>
              <a:gd name="connsiteY150" fmla="*/ 5753538 h 6858000"/>
              <a:gd name="connsiteX151" fmla="*/ 169744 w 5734864"/>
              <a:gd name="connsiteY151" fmla="*/ 5796307 h 6858000"/>
              <a:gd name="connsiteX152" fmla="*/ 170351 w 5734864"/>
              <a:gd name="connsiteY152" fmla="*/ 5796644 h 6858000"/>
              <a:gd name="connsiteX153" fmla="*/ 171559 w 5734864"/>
              <a:gd name="connsiteY153" fmla="*/ 5803435 h 6858000"/>
              <a:gd name="connsiteX154" fmla="*/ 172284 w 5734864"/>
              <a:gd name="connsiteY154" fmla="*/ 5816391 h 6858000"/>
              <a:gd name="connsiteX155" fmla="*/ 182542 w 5734864"/>
              <a:gd name="connsiteY155" fmla="*/ 5846382 h 6858000"/>
              <a:gd name="connsiteX156" fmla="*/ 175877 w 5734864"/>
              <a:gd name="connsiteY156" fmla="*/ 5871336 h 6858000"/>
              <a:gd name="connsiteX157" fmla="*/ 174910 w 5734864"/>
              <a:gd name="connsiteY157" fmla="*/ 5876376 h 6858000"/>
              <a:gd name="connsiteX158" fmla="*/ 175047 w 5734864"/>
              <a:gd name="connsiteY158" fmla="*/ 5876483 h 6858000"/>
              <a:gd name="connsiteX159" fmla="*/ 174335 w 5734864"/>
              <a:gd name="connsiteY159" fmla="*/ 5881814 h 6858000"/>
              <a:gd name="connsiteX160" fmla="*/ 171273 w 5734864"/>
              <a:gd name="connsiteY160" fmla="*/ 5895339 h 6858000"/>
              <a:gd name="connsiteX161" fmla="*/ 171658 w 5734864"/>
              <a:gd name="connsiteY161" fmla="*/ 5898749 h 6858000"/>
              <a:gd name="connsiteX162" fmla="*/ 174658 w 5734864"/>
              <a:gd name="connsiteY162" fmla="*/ 5919558 h 6858000"/>
              <a:gd name="connsiteX163" fmla="*/ 169099 w 5734864"/>
              <a:gd name="connsiteY163" fmla="*/ 5984417 h 6858000"/>
              <a:gd name="connsiteX164" fmla="*/ 162007 w 5734864"/>
              <a:gd name="connsiteY164" fmla="*/ 6049043 h 6858000"/>
              <a:gd name="connsiteX165" fmla="*/ 156875 w 5734864"/>
              <a:gd name="connsiteY165" fmla="*/ 6114000 h 6858000"/>
              <a:gd name="connsiteX166" fmla="*/ 165441 w 5734864"/>
              <a:gd name="connsiteY166" fmla="*/ 6146938 h 6858000"/>
              <a:gd name="connsiteX167" fmla="*/ 165177 w 5734864"/>
              <a:gd name="connsiteY167" fmla="*/ 6150658 h 6858000"/>
              <a:gd name="connsiteX168" fmla="*/ 161772 w 5734864"/>
              <a:gd name="connsiteY168" fmla="*/ 6160011 h 6858000"/>
              <a:gd name="connsiteX169" fmla="*/ 160051 w 5734864"/>
              <a:gd name="connsiteY169" fmla="*/ 6163393 h 6858000"/>
              <a:gd name="connsiteX170" fmla="*/ 158473 w 5734864"/>
              <a:gd name="connsiteY170" fmla="*/ 6168628 h 6858000"/>
              <a:gd name="connsiteX171" fmla="*/ 158573 w 5734864"/>
              <a:gd name="connsiteY171" fmla="*/ 6168799 h 6858000"/>
              <a:gd name="connsiteX172" fmla="*/ 146463 w 5734864"/>
              <a:gd name="connsiteY172" fmla="*/ 6196671 h 6858000"/>
              <a:gd name="connsiteX173" fmla="*/ 150209 w 5734864"/>
              <a:gd name="connsiteY173" fmla="*/ 6232365 h 6858000"/>
              <a:gd name="connsiteX174" fmla="*/ 148544 w 5734864"/>
              <a:gd name="connsiteY174" fmla="*/ 6246162 h 6858000"/>
              <a:gd name="connsiteX175" fmla="*/ 148403 w 5734864"/>
              <a:gd name="connsiteY175" fmla="*/ 6253754 h 6858000"/>
              <a:gd name="connsiteX176" fmla="*/ 138880 w 5734864"/>
              <a:gd name="connsiteY176" fmla="*/ 6276449 h 6858000"/>
              <a:gd name="connsiteX177" fmla="*/ 138683 w 5734864"/>
              <a:gd name="connsiteY177" fmla="*/ 6279721 h 6858000"/>
              <a:gd name="connsiteX178" fmla="*/ 130721 w 5734864"/>
              <a:gd name="connsiteY178" fmla="*/ 6293675 h 6858000"/>
              <a:gd name="connsiteX179" fmla="*/ 120717 w 5734864"/>
              <a:gd name="connsiteY179" fmla="*/ 6313967 h 6858000"/>
              <a:gd name="connsiteX180" fmla="*/ 120841 w 5734864"/>
              <a:gd name="connsiteY180" fmla="*/ 6315437 h 6858000"/>
              <a:gd name="connsiteX181" fmla="*/ 115208 w 5734864"/>
              <a:gd name="connsiteY181" fmla="*/ 6324024 h 6858000"/>
              <a:gd name="connsiteX182" fmla="*/ 101217 w 5734864"/>
              <a:gd name="connsiteY182" fmla="*/ 6365923 h 6858000"/>
              <a:gd name="connsiteX183" fmla="*/ 74946 w 5734864"/>
              <a:gd name="connsiteY183" fmla="*/ 6556817 h 6858000"/>
              <a:gd name="connsiteX184" fmla="*/ 16001 w 5734864"/>
              <a:gd name="connsiteY184" fmla="*/ 6808678 h 6858000"/>
              <a:gd name="connsiteX185" fmla="*/ 0 w 5734864"/>
              <a:gd name="connsiteY185" fmla="*/ 6858000 h 6858000"/>
              <a:gd name="connsiteX186" fmla="*/ 5734864 w 5734864"/>
              <a:gd name="connsiteY186" fmla="*/ 6858000 h 6858000"/>
              <a:gd name="connsiteX187" fmla="*/ 5734864 w 5734864"/>
              <a:gd name="connsiteY18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5734864" h="6858000">
                <a:moveTo>
                  <a:pt x="5734864" y="0"/>
                </a:moveTo>
                <a:lnTo>
                  <a:pt x="771611" y="0"/>
                </a:lnTo>
                <a:cubicBezTo>
                  <a:pt x="771634" y="16369"/>
                  <a:pt x="771656" y="32739"/>
                  <a:pt x="771679" y="49108"/>
                </a:cubicBezTo>
                <a:cubicBezTo>
                  <a:pt x="775201" y="55622"/>
                  <a:pt x="788724" y="196721"/>
                  <a:pt x="794248" y="200968"/>
                </a:cubicBezTo>
                <a:lnTo>
                  <a:pt x="801749" y="414071"/>
                </a:lnTo>
                <a:cubicBezTo>
                  <a:pt x="807329" y="440933"/>
                  <a:pt x="835107" y="598697"/>
                  <a:pt x="818548" y="585467"/>
                </a:cubicBezTo>
                <a:cubicBezTo>
                  <a:pt x="856197" y="664140"/>
                  <a:pt x="837895" y="708473"/>
                  <a:pt x="857476" y="800623"/>
                </a:cubicBezTo>
                <a:cubicBezTo>
                  <a:pt x="822401" y="857344"/>
                  <a:pt x="855723" y="824571"/>
                  <a:pt x="851083" y="878903"/>
                </a:cubicBezTo>
                <a:cubicBezTo>
                  <a:pt x="884811" y="859448"/>
                  <a:pt x="834648" y="946397"/>
                  <a:pt x="873564" y="943826"/>
                </a:cubicBezTo>
                <a:cubicBezTo>
                  <a:pt x="871487" y="953795"/>
                  <a:pt x="868248" y="963533"/>
                  <a:pt x="864705" y="973328"/>
                </a:cubicBezTo>
                <a:lnTo>
                  <a:pt x="862869" y="978457"/>
                </a:lnTo>
                <a:lnTo>
                  <a:pt x="862233" y="998041"/>
                </a:lnTo>
                <a:lnTo>
                  <a:pt x="853665" y="1004750"/>
                </a:lnTo>
                <a:lnTo>
                  <a:pt x="847865" y="1070795"/>
                </a:lnTo>
                <a:cubicBezTo>
                  <a:pt x="870234" y="1110486"/>
                  <a:pt x="833172" y="1190441"/>
                  <a:pt x="862786" y="1238994"/>
                </a:cubicBezTo>
                <a:cubicBezTo>
                  <a:pt x="864699" y="1290599"/>
                  <a:pt x="860615" y="1347716"/>
                  <a:pt x="859345" y="1380427"/>
                </a:cubicBezTo>
                <a:cubicBezTo>
                  <a:pt x="845703" y="1396391"/>
                  <a:pt x="873184" y="1435525"/>
                  <a:pt x="855172" y="1435262"/>
                </a:cubicBezTo>
                <a:lnTo>
                  <a:pt x="860494" y="1453861"/>
                </a:lnTo>
                <a:lnTo>
                  <a:pt x="853731" y="1467047"/>
                </a:lnTo>
                <a:cubicBezTo>
                  <a:pt x="846549" y="1480528"/>
                  <a:pt x="841728" y="1491093"/>
                  <a:pt x="845847" y="1502307"/>
                </a:cubicBezTo>
                <a:lnTo>
                  <a:pt x="817613" y="1565166"/>
                </a:lnTo>
                <a:cubicBezTo>
                  <a:pt x="805468" y="1557258"/>
                  <a:pt x="816534" y="1596564"/>
                  <a:pt x="804223" y="1601941"/>
                </a:cubicBezTo>
                <a:cubicBezTo>
                  <a:pt x="794287" y="1604654"/>
                  <a:pt x="795328" y="1617209"/>
                  <a:pt x="791773" y="1627005"/>
                </a:cubicBezTo>
                <a:cubicBezTo>
                  <a:pt x="781684" y="1634393"/>
                  <a:pt x="772978" y="1683187"/>
                  <a:pt x="774645" y="1699922"/>
                </a:cubicBezTo>
                <a:cubicBezTo>
                  <a:pt x="785341" y="1746767"/>
                  <a:pt x="744845" y="1787099"/>
                  <a:pt x="752343" y="1824604"/>
                </a:cubicBezTo>
                <a:cubicBezTo>
                  <a:pt x="751502" y="1834578"/>
                  <a:pt x="749297" y="1842929"/>
                  <a:pt x="746254" y="1850222"/>
                </a:cubicBezTo>
                <a:lnTo>
                  <a:pt x="728600" y="1869603"/>
                </a:lnTo>
                <a:lnTo>
                  <a:pt x="724396" y="1883104"/>
                </a:lnTo>
                <a:lnTo>
                  <a:pt x="722165" y="1885924"/>
                </a:lnTo>
                <a:lnTo>
                  <a:pt x="721338" y="1887123"/>
                </a:lnTo>
                <a:lnTo>
                  <a:pt x="714840" y="1902274"/>
                </a:lnTo>
                <a:lnTo>
                  <a:pt x="722847" y="1929891"/>
                </a:lnTo>
                <a:lnTo>
                  <a:pt x="714660" y="1982709"/>
                </a:lnTo>
                <a:cubicBezTo>
                  <a:pt x="727725" y="2006201"/>
                  <a:pt x="714739" y="1997091"/>
                  <a:pt x="710759" y="2013010"/>
                </a:cubicBezTo>
                <a:cubicBezTo>
                  <a:pt x="707970" y="2027531"/>
                  <a:pt x="700788" y="2054714"/>
                  <a:pt x="697927" y="2069833"/>
                </a:cubicBezTo>
                <a:cubicBezTo>
                  <a:pt x="685211" y="2080229"/>
                  <a:pt x="698762" y="2088241"/>
                  <a:pt x="693594" y="2103731"/>
                </a:cubicBezTo>
                <a:cubicBezTo>
                  <a:pt x="688481" y="2110649"/>
                  <a:pt x="687183" y="2115973"/>
                  <a:pt x="691109" y="2124027"/>
                </a:cubicBezTo>
                <a:cubicBezTo>
                  <a:pt x="666413" y="2155740"/>
                  <a:pt x="688031" y="2144874"/>
                  <a:pt x="676593" y="2176182"/>
                </a:cubicBezTo>
                <a:cubicBezTo>
                  <a:pt x="665190" y="2202944"/>
                  <a:pt x="656416" y="2233857"/>
                  <a:pt x="633227" y="2258036"/>
                </a:cubicBezTo>
                <a:cubicBezTo>
                  <a:pt x="626930" y="2262191"/>
                  <a:pt x="623498" y="2274069"/>
                  <a:pt x="625564" y="2284567"/>
                </a:cubicBezTo>
                <a:cubicBezTo>
                  <a:pt x="625918" y="2286374"/>
                  <a:pt x="626427" y="2288071"/>
                  <a:pt x="627074" y="2289605"/>
                </a:cubicBezTo>
                <a:cubicBezTo>
                  <a:pt x="619029" y="2296628"/>
                  <a:pt x="616453" y="2303188"/>
                  <a:pt x="614574" y="2308717"/>
                </a:cubicBezTo>
                <a:lnTo>
                  <a:pt x="606890" y="2320662"/>
                </a:lnTo>
                <a:lnTo>
                  <a:pt x="605558" y="2327897"/>
                </a:lnTo>
                <a:lnTo>
                  <a:pt x="602202" y="2357749"/>
                </a:lnTo>
                <a:lnTo>
                  <a:pt x="600213" y="2364905"/>
                </a:lnTo>
                <a:lnTo>
                  <a:pt x="597160" y="2388351"/>
                </a:lnTo>
                <a:lnTo>
                  <a:pt x="597982" y="2402296"/>
                </a:lnTo>
                <a:lnTo>
                  <a:pt x="593150" y="2420015"/>
                </a:lnTo>
                <a:cubicBezTo>
                  <a:pt x="593044" y="2420926"/>
                  <a:pt x="592939" y="2421838"/>
                  <a:pt x="592833" y="2422749"/>
                </a:cubicBezTo>
                <a:lnTo>
                  <a:pt x="594479" y="2426002"/>
                </a:lnTo>
                <a:cubicBezTo>
                  <a:pt x="594168" y="2427683"/>
                  <a:pt x="593118" y="2429721"/>
                  <a:pt x="591963" y="2431950"/>
                </a:cubicBezTo>
                <a:cubicBezTo>
                  <a:pt x="591823" y="2432599"/>
                  <a:pt x="591684" y="2433248"/>
                  <a:pt x="591544" y="2433897"/>
                </a:cubicBezTo>
                <a:lnTo>
                  <a:pt x="589519" y="2451398"/>
                </a:lnTo>
                <a:cubicBezTo>
                  <a:pt x="589692" y="2452777"/>
                  <a:pt x="589864" y="2454157"/>
                  <a:pt x="590037" y="2455536"/>
                </a:cubicBezTo>
                <a:lnTo>
                  <a:pt x="588179" y="2462981"/>
                </a:lnTo>
                <a:lnTo>
                  <a:pt x="583434" y="2503991"/>
                </a:lnTo>
                <a:cubicBezTo>
                  <a:pt x="576530" y="2566058"/>
                  <a:pt x="570433" y="2625224"/>
                  <a:pt x="567942" y="2652936"/>
                </a:cubicBezTo>
                <a:cubicBezTo>
                  <a:pt x="570864" y="2658290"/>
                  <a:pt x="572739" y="2664095"/>
                  <a:pt x="573869" y="2670188"/>
                </a:cubicBezTo>
                <a:lnTo>
                  <a:pt x="575243" y="2688114"/>
                </a:lnTo>
                <a:lnTo>
                  <a:pt x="573824" y="2689856"/>
                </a:lnTo>
                <a:cubicBezTo>
                  <a:pt x="569972" y="2698471"/>
                  <a:pt x="569572" y="2704494"/>
                  <a:pt x="570699" y="2709353"/>
                </a:cubicBezTo>
                <a:lnTo>
                  <a:pt x="573192" y="2714527"/>
                </a:lnTo>
                <a:cubicBezTo>
                  <a:pt x="572809" y="2719080"/>
                  <a:pt x="572427" y="2723634"/>
                  <a:pt x="572044" y="2728187"/>
                </a:cubicBezTo>
                <a:cubicBezTo>
                  <a:pt x="572184" y="2737412"/>
                  <a:pt x="572325" y="2746638"/>
                  <a:pt x="572465" y="2755863"/>
                </a:cubicBezTo>
                <a:lnTo>
                  <a:pt x="570028" y="2760324"/>
                </a:lnTo>
                <a:lnTo>
                  <a:pt x="566748" y="2800948"/>
                </a:lnTo>
                <a:lnTo>
                  <a:pt x="565509" y="2801167"/>
                </a:lnTo>
                <a:cubicBezTo>
                  <a:pt x="562655" y="2802587"/>
                  <a:pt x="560408" y="2805381"/>
                  <a:pt x="559367" y="2811129"/>
                </a:cubicBezTo>
                <a:cubicBezTo>
                  <a:pt x="543471" y="2797318"/>
                  <a:pt x="552020" y="2812773"/>
                  <a:pt x="550354" y="2830949"/>
                </a:cubicBezTo>
                <a:cubicBezTo>
                  <a:pt x="525292" y="2813553"/>
                  <a:pt x="531129" y="2868192"/>
                  <a:pt x="514795" y="2872433"/>
                </a:cubicBezTo>
                <a:lnTo>
                  <a:pt x="509875" y="2923099"/>
                </a:lnTo>
                <a:lnTo>
                  <a:pt x="509577" y="2923197"/>
                </a:lnTo>
                <a:cubicBezTo>
                  <a:pt x="508704" y="2924865"/>
                  <a:pt x="508038" y="2927556"/>
                  <a:pt x="507597" y="2931868"/>
                </a:cubicBezTo>
                <a:cubicBezTo>
                  <a:pt x="507524" y="2934019"/>
                  <a:pt x="507452" y="2936171"/>
                  <a:pt x="507379" y="2938322"/>
                </a:cubicBezTo>
                <a:lnTo>
                  <a:pt x="504725" y="2954519"/>
                </a:lnTo>
                <a:lnTo>
                  <a:pt x="502018" y="2959643"/>
                </a:lnTo>
                <a:lnTo>
                  <a:pt x="498360" y="2961019"/>
                </a:lnTo>
                <a:lnTo>
                  <a:pt x="498483" y="2962590"/>
                </a:lnTo>
                <a:cubicBezTo>
                  <a:pt x="502388" y="2975027"/>
                  <a:pt x="510202" y="2980016"/>
                  <a:pt x="484403" y="2990538"/>
                </a:cubicBezTo>
                <a:cubicBezTo>
                  <a:pt x="489425" y="3018352"/>
                  <a:pt x="474337" y="3021029"/>
                  <a:pt x="463075" y="3055956"/>
                </a:cubicBezTo>
                <a:cubicBezTo>
                  <a:pt x="469487" y="3072485"/>
                  <a:pt x="464165" y="3083955"/>
                  <a:pt x="455013" y="3094482"/>
                </a:cubicBezTo>
                <a:cubicBezTo>
                  <a:pt x="453131" y="3130054"/>
                  <a:pt x="437643" y="3160106"/>
                  <a:pt x="428391" y="3198850"/>
                </a:cubicBezTo>
                <a:lnTo>
                  <a:pt x="401440" y="3307560"/>
                </a:lnTo>
                <a:lnTo>
                  <a:pt x="386076" y="3373943"/>
                </a:lnTo>
                <a:cubicBezTo>
                  <a:pt x="386236" y="3376061"/>
                  <a:pt x="380537" y="3378856"/>
                  <a:pt x="374726" y="3381364"/>
                </a:cubicBezTo>
                <a:lnTo>
                  <a:pt x="369145" y="3383729"/>
                </a:lnTo>
                <a:lnTo>
                  <a:pt x="364294" y="3414159"/>
                </a:lnTo>
                <a:lnTo>
                  <a:pt x="366450" y="3436925"/>
                </a:lnTo>
                <a:lnTo>
                  <a:pt x="351743" y="3521619"/>
                </a:lnTo>
                <a:lnTo>
                  <a:pt x="345784" y="3603757"/>
                </a:lnTo>
                <a:cubicBezTo>
                  <a:pt x="345255" y="3619979"/>
                  <a:pt x="344727" y="3636202"/>
                  <a:pt x="344198" y="3652424"/>
                </a:cubicBezTo>
                <a:lnTo>
                  <a:pt x="352450" y="3665222"/>
                </a:lnTo>
                <a:lnTo>
                  <a:pt x="342621" y="3700804"/>
                </a:lnTo>
                <a:lnTo>
                  <a:pt x="341514" y="3734774"/>
                </a:lnTo>
                <a:cubicBezTo>
                  <a:pt x="341212" y="3751567"/>
                  <a:pt x="340909" y="3768360"/>
                  <a:pt x="340607" y="3785153"/>
                </a:cubicBezTo>
                <a:cubicBezTo>
                  <a:pt x="340640" y="3786161"/>
                  <a:pt x="340674" y="3787169"/>
                  <a:pt x="340707" y="3788177"/>
                </a:cubicBezTo>
                <a:cubicBezTo>
                  <a:pt x="340592" y="3791719"/>
                  <a:pt x="340476" y="3795261"/>
                  <a:pt x="340361" y="3798803"/>
                </a:cubicBezTo>
                <a:cubicBezTo>
                  <a:pt x="340121" y="3812119"/>
                  <a:pt x="339882" y="3825434"/>
                  <a:pt x="339642" y="3838750"/>
                </a:cubicBezTo>
                <a:cubicBezTo>
                  <a:pt x="337363" y="3949044"/>
                  <a:pt x="361794" y="3960437"/>
                  <a:pt x="360295" y="4015196"/>
                </a:cubicBezTo>
                <a:lnTo>
                  <a:pt x="339043" y="4052778"/>
                </a:lnTo>
                <a:lnTo>
                  <a:pt x="339343" y="4096257"/>
                </a:lnTo>
                <a:cubicBezTo>
                  <a:pt x="362058" y="4159145"/>
                  <a:pt x="332404" y="4250479"/>
                  <a:pt x="340786" y="4321136"/>
                </a:cubicBezTo>
                <a:cubicBezTo>
                  <a:pt x="341421" y="4376624"/>
                  <a:pt x="344189" y="4407708"/>
                  <a:pt x="343158" y="4429174"/>
                </a:cubicBezTo>
                <a:cubicBezTo>
                  <a:pt x="340948" y="4436304"/>
                  <a:pt x="337887" y="4443121"/>
                  <a:pt x="334599" y="4449938"/>
                </a:cubicBezTo>
                <a:lnTo>
                  <a:pt x="332890" y="4453515"/>
                </a:lnTo>
                <a:lnTo>
                  <a:pt x="331105" y="4467941"/>
                </a:lnTo>
                <a:lnTo>
                  <a:pt x="324289" y="4471861"/>
                </a:lnTo>
                <a:lnTo>
                  <a:pt x="317079" y="4493468"/>
                </a:lnTo>
                <a:cubicBezTo>
                  <a:pt x="315353" y="4501584"/>
                  <a:pt x="314639" y="4510343"/>
                  <a:pt x="315557" y="4520067"/>
                </a:cubicBezTo>
                <a:cubicBezTo>
                  <a:pt x="315451" y="4525669"/>
                  <a:pt x="315346" y="4531270"/>
                  <a:pt x="315240" y="4536872"/>
                </a:cubicBezTo>
                <a:lnTo>
                  <a:pt x="316200" y="4538297"/>
                </a:lnTo>
                <a:cubicBezTo>
                  <a:pt x="316738" y="4541182"/>
                  <a:pt x="316785" y="4544563"/>
                  <a:pt x="317507" y="4547582"/>
                </a:cubicBezTo>
                <a:cubicBezTo>
                  <a:pt x="322716" y="4552468"/>
                  <a:pt x="324912" y="4582137"/>
                  <a:pt x="323078" y="4592102"/>
                </a:cubicBezTo>
                <a:cubicBezTo>
                  <a:pt x="314597" y="4619728"/>
                  <a:pt x="334923" y="4645745"/>
                  <a:pt x="328722" y="4667914"/>
                </a:cubicBezTo>
                <a:cubicBezTo>
                  <a:pt x="330810" y="4685069"/>
                  <a:pt x="333803" y="4690356"/>
                  <a:pt x="335597" y="4695035"/>
                </a:cubicBezTo>
                <a:lnTo>
                  <a:pt x="339485" y="4695979"/>
                </a:lnTo>
                <a:lnTo>
                  <a:pt x="341089" y="4704268"/>
                </a:lnTo>
                <a:lnTo>
                  <a:pt x="342177" y="4706060"/>
                </a:lnTo>
                <a:cubicBezTo>
                  <a:pt x="344268" y="4709474"/>
                  <a:pt x="346234" y="4712931"/>
                  <a:pt x="347751" y="4716754"/>
                </a:cubicBezTo>
                <a:lnTo>
                  <a:pt x="344125" y="4764669"/>
                </a:lnTo>
                <a:lnTo>
                  <a:pt x="340188" y="4779386"/>
                </a:lnTo>
                <a:lnTo>
                  <a:pt x="335146" y="4787491"/>
                </a:lnTo>
                <a:lnTo>
                  <a:pt x="319124" y="4843514"/>
                </a:lnTo>
                <a:lnTo>
                  <a:pt x="305956" y="4881505"/>
                </a:lnTo>
                <a:lnTo>
                  <a:pt x="301062" y="4889332"/>
                </a:lnTo>
                <a:lnTo>
                  <a:pt x="302141" y="4899400"/>
                </a:lnTo>
                <a:cubicBezTo>
                  <a:pt x="302767" y="4900706"/>
                  <a:pt x="303536" y="4901803"/>
                  <a:pt x="304424" y="4902664"/>
                </a:cubicBezTo>
                <a:lnTo>
                  <a:pt x="293123" y="4932769"/>
                </a:lnTo>
                <a:lnTo>
                  <a:pt x="292275" y="4936482"/>
                </a:lnTo>
                <a:lnTo>
                  <a:pt x="288304" y="4962325"/>
                </a:lnTo>
                <a:cubicBezTo>
                  <a:pt x="288009" y="4988948"/>
                  <a:pt x="287715" y="5015570"/>
                  <a:pt x="287420" y="5042193"/>
                </a:cubicBezTo>
                <a:cubicBezTo>
                  <a:pt x="295373" y="5039737"/>
                  <a:pt x="281659" y="5060438"/>
                  <a:pt x="287020" y="5065655"/>
                </a:cubicBezTo>
                <a:cubicBezTo>
                  <a:pt x="291675" y="5068928"/>
                  <a:pt x="288601" y="5075970"/>
                  <a:pt x="288488" y="5082216"/>
                </a:cubicBezTo>
                <a:cubicBezTo>
                  <a:pt x="292282" y="5088207"/>
                  <a:pt x="287008" y="5117775"/>
                  <a:pt x="282763" y="5127114"/>
                </a:cubicBezTo>
                <a:cubicBezTo>
                  <a:pt x="267723" y="5152218"/>
                  <a:pt x="280799" y="5182399"/>
                  <a:pt x="269316" y="5202682"/>
                </a:cubicBezTo>
                <a:cubicBezTo>
                  <a:pt x="267050" y="5219969"/>
                  <a:pt x="268614" y="5225841"/>
                  <a:pt x="269174" y="5230835"/>
                </a:cubicBezTo>
                <a:lnTo>
                  <a:pt x="272679" y="5232660"/>
                </a:lnTo>
                <a:lnTo>
                  <a:pt x="272160" y="5241150"/>
                </a:lnTo>
                <a:lnTo>
                  <a:pt x="272760" y="5243156"/>
                </a:lnTo>
                <a:cubicBezTo>
                  <a:pt x="273922" y="5246984"/>
                  <a:pt x="274952" y="5250824"/>
                  <a:pt x="275462" y="5254919"/>
                </a:cubicBezTo>
                <a:cubicBezTo>
                  <a:pt x="258407" y="5258851"/>
                  <a:pt x="276976" y="5290392"/>
                  <a:pt x="262897" y="5286259"/>
                </a:cubicBezTo>
                <a:cubicBezTo>
                  <a:pt x="262724" y="5309439"/>
                  <a:pt x="239612" y="5337531"/>
                  <a:pt x="252761" y="5357801"/>
                </a:cubicBezTo>
                <a:cubicBezTo>
                  <a:pt x="248775" y="5392256"/>
                  <a:pt x="247799" y="5423412"/>
                  <a:pt x="242360" y="5460080"/>
                </a:cubicBezTo>
                <a:cubicBezTo>
                  <a:pt x="232632" y="5488478"/>
                  <a:pt x="242025" y="5519143"/>
                  <a:pt x="229880" y="5539714"/>
                </a:cubicBezTo>
                <a:cubicBezTo>
                  <a:pt x="230558" y="5572454"/>
                  <a:pt x="222150" y="5613340"/>
                  <a:pt x="204283" y="5639080"/>
                </a:cubicBezTo>
                <a:cubicBezTo>
                  <a:pt x="201596" y="5674226"/>
                  <a:pt x="191051" y="5680198"/>
                  <a:pt x="198948" y="5710958"/>
                </a:cubicBezTo>
                <a:cubicBezTo>
                  <a:pt x="196338" y="5713534"/>
                  <a:pt x="194185" y="5716550"/>
                  <a:pt x="192367" y="5719859"/>
                </a:cubicBezTo>
                <a:lnTo>
                  <a:pt x="188035" y="5729935"/>
                </a:lnTo>
                <a:lnTo>
                  <a:pt x="188428" y="5731182"/>
                </a:lnTo>
                <a:lnTo>
                  <a:pt x="181635" y="5753538"/>
                </a:lnTo>
                <a:lnTo>
                  <a:pt x="169744" y="5796307"/>
                </a:lnTo>
                <a:lnTo>
                  <a:pt x="170351" y="5796644"/>
                </a:lnTo>
                <a:cubicBezTo>
                  <a:pt x="171558" y="5797954"/>
                  <a:pt x="172173" y="5799948"/>
                  <a:pt x="171559" y="5803435"/>
                </a:cubicBezTo>
                <a:cubicBezTo>
                  <a:pt x="182664" y="5798231"/>
                  <a:pt x="175075" y="5805646"/>
                  <a:pt x="172284" y="5816391"/>
                </a:cubicBezTo>
                <a:cubicBezTo>
                  <a:pt x="188911" y="5810703"/>
                  <a:pt x="174844" y="5841128"/>
                  <a:pt x="182542" y="5846382"/>
                </a:cubicBezTo>
                <a:cubicBezTo>
                  <a:pt x="180118" y="5854404"/>
                  <a:pt x="177856" y="5862781"/>
                  <a:pt x="175877" y="5871336"/>
                </a:cubicBezTo>
                <a:lnTo>
                  <a:pt x="174910" y="5876376"/>
                </a:lnTo>
                <a:lnTo>
                  <a:pt x="175047" y="5876483"/>
                </a:lnTo>
                <a:cubicBezTo>
                  <a:pt x="175167" y="5877594"/>
                  <a:pt x="174973" y="5879257"/>
                  <a:pt x="174335" y="5881814"/>
                </a:cubicBezTo>
                <a:lnTo>
                  <a:pt x="171273" y="5895339"/>
                </a:lnTo>
                <a:cubicBezTo>
                  <a:pt x="171401" y="5896476"/>
                  <a:pt x="171530" y="5897612"/>
                  <a:pt x="171658" y="5898749"/>
                </a:cubicBezTo>
                <a:lnTo>
                  <a:pt x="174658" y="5919558"/>
                </a:lnTo>
                <a:cubicBezTo>
                  <a:pt x="173958" y="5933601"/>
                  <a:pt x="171208" y="5962838"/>
                  <a:pt x="169099" y="5984417"/>
                </a:cubicBezTo>
                <a:cubicBezTo>
                  <a:pt x="162916" y="6005205"/>
                  <a:pt x="164971" y="6025162"/>
                  <a:pt x="162007" y="6049043"/>
                </a:cubicBezTo>
                <a:cubicBezTo>
                  <a:pt x="150795" y="6073830"/>
                  <a:pt x="160091" y="6088483"/>
                  <a:pt x="156875" y="6114000"/>
                </a:cubicBezTo>
                <a:cubicBezTo>
                  <a:pt x="141597" y="6134477"/>
                  <a:pt x="163381" y="6133378"/>
                  <a:pt x="165441" y="6146938"/>
                </a:cubicBezTo>
                <a:lnTo>
                  <a:pt x="165177" y="6150658"/>
                </a:lnTo>
                <a:lnTo>
                  <a:pt x="161772" y="6160011"/>
                </a:lnTo>
                <a:lnTo>
                  <a:pt x="160051" y="6163393"/>
                </a:lnTo>
                <a:cubicBezTo>
                  <a:pt x="159032" y="6165775"/>
                  <a:pt x="158564" y="6167421"/>
                  <a:pt x="158473" y="6168628"/>
                </a:cubicBezTo>
                <a:cubicBezTo>
                  <a:pt x="158506" y="6168685"/>
                  <a:pt x="158540" y="6168742"/>
                  <a:pt x="158573" y="6168799"/>
                </a:cubicBezTo>
                <a:lnTo>
                  <a:pt x="146463" y="6196671"/>
                </a:lnTo>
                <a:cubicBezTo>
                  <a:pt x="152348" y="6205503"/>
                  <a:pt x="134460" y="6231012"/>
                  <a:pt x="150209" y="6232365"/>
                </a:cubicBezTo>
                <a:cubicBezTo>
                  <a:pt x="145821" y="6242321"/>
                  <a:pt x="137774" y="6246719"/>
                  <a:pt x="148544" y="6246162"/>
                </a:cubicBezTo>
                <a:cubicBezTo>
                  <a:pt x="147378" y="6249522"/>
                  <a:pt x="147566" y="6251866"/>
                  <a:pt x="148403" y="6253754"/>
                </a:cubicBezTo>
                <a:lnTo>
                  <a:pt x="138880" y="6276449"/>
                </a:lnTo>
                <a:cubicBezTo>
                  <a:pt x="138814" y="6277540"/>
                  <a:pt x="138749" y="6278630"/>
                  <a:pt x="138683" y="6279721"/>
                </a:cubicBezTo>
                <a:lnTo>
                  <a:pt x="130721" y="6293675"/>
                </a:lnTo>
                <a:lnTo>
                  <a:pt x="120717" y="6313967"/>
                </a:lnTo>
                <a:cubicBezTo>
                  <a:pt x="120758" y="6314457"/>
                  <a:pt x="120800" y="6314947"/>
                  <a:pt x="120841" y="6315437"/>
                </a:cubicBezTo>
                <a:lnTo>
                  <a:pt x="115208" y="6324024"/>
                </a:lnTo>
                <a:cubicBezTo>
                  <a:pt x="113007" y="6326672"/>
                  <a:pt x="103991" y="6364381"/>
                  <a:pt x="101217" y="6365923"/>
                </a:cubicBezTo>
                <a:lnTo>
                  <a:pt x="74946" y="6556817"/>
                </a:lnTo>
                <a:cubicBezTo>
                  <a:pt x="55357" y="6665926"/>
                  <a:pt x="35695" y="6744075"/>
                  <a:pt x="16001" y="6808678"/>
                </a:cubicBezTo>
                <a:lnTo>
                  <a:pt x="0" y="6858000"/>
                </a:lnTo>
                <a:lnTo>
                  <a:pt x="5734864" y="6858000"/>
                </a:lnTo>
                <a:lnTo>
                  <a:pt x="5734864" y="0"/>
                </a:lnTo>
                <a:close/>
              </a:path>
            </a:pathLst>
          </a:cu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2F53C965-EE0D-441D-96BF-AA4BFFC51461}"/>
              </a:ext>
            </a:extLst>
          </p:cNvPr>
          <p:cNvSpPr>
            <a:spLocks noGrp="1"/>
          </p:cNvSpPr>
          <p:nvPr>
            <p:ph type="title"/>
          </p:nvPr>
        </p:nvSpPr>
        <p:spPr>
          <a:xfrm>
            <a:off x="761685" y="1543079"/>
            <a:ext cx="3616913" cy="2795160"/>
          </a:xfrm>
        </p:spPr>
        <p:txBody>
          <a:bodyPr vert="horz" lIns="91440" tIns="45720" rIns="91440" bIns="45720" rtlCol="0" anchor="b">
            <a:normAutofit/>
          </a:bodyPr>
          <a:lstStyle/>
          <a:p>
            <a:pPr algn="ctr">
              <a:lnSpc>
                <a:spcPct val="90000"/>
              </a:lnSpc>
            </a:pPr>
            <a:r>
              <a:rPr lang="en-US" sz="4400" kern="1200">
                <a:solidFill>
                  <a:schemeClr val="tx1"/>
                </a:solidFill>
                <a:latin typeface="+mj-lt"/>
                <a:ea typeface="+mj-ea"/>
                <a:cs typeface="+mj-cs"/>
              </a:rPr>
              <a:t>Respectful Care Breakfast Planning Resource</a:t>
            </a:r>
          </a:p>
        </p:txBody>
      </p:sp>
      <p:sp>
        <p:nvSpPr>
          <p:cNvPr id="5" name="Footer Placeholder 4">
            <a:extLst>
              <a:ext uri="{FF2B5EF4-FFF2-40B4-BE49-F238E27FC236}">
                <a16:creationId xmlns:a16="http://schemas.microsoft.com/office/drawing/2014/main" id="{3E97C472-B7C4-432B-BE68-86FA3727418E}"/>
              </a:ext>
            </a:extLst>
          </p:cNvPr>
          <p:cNvSpPr>
            <a:spLocks noGrp="1"/>
          </p:cNvSpPr>
          <p:nvPr>
            <p:ph type="ftr" sz="quarter" idx="11"/>
          </p:nvPr>
        </p:nvSpPr>
        <p:spPr>
          <a:xfrm>
            <a:off x="509954" y="6309458"/>
            <a:ext cx="4114800" cy="365125"/>
          </a:xfrm>
        </p:spPr>
        <p:txBody>
          <a:bodyPr vert="horz" lIns="91440" tIns="45720" rIns="91440" bIns="45720" rtlCol="0" anchor="ctr">
            <a:normAutofit/>
          </a:bodyPr>
          <a:lstStyle/>
          <a:p>
            <a:pPr>
              <a:spcAft>
                <a:spcPts val="600"/>
              </a:spcAft>
            </a:pPr>
            <a:r>
              <a:rPr lang="en-US" sz="1000"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3C0BED1F-6F67-418F-8281-4E0D17E7419A}"/>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z="1000">
                <a:solidFill>
                  <a:schemeClr val="tx1">
                    <a:tint val="75000"/>
                  </a:schemeClr>
                </a:solidFill>
              </a:rPr>
              <a:pPr>
                <a:spcAft>
                  <a:spcPts val="600"/>
                </a:spcAft>
              </a:pPr>
              <a:t>29</a:t>
            </a:fld>
            <a:endParaRPr lang="en-US" sz="1000">
              <a:solidFill>
                <a:schemeClr val="tx1">
                  <a:tint val="75000"/>
                </a:schemeClr>
              </a:solidFill>
            </a:endParaRPr>
          </a:p>
        </p:txBody>
      </p:sp>
      <p:pic>
        <p:nvPicPr>
          <p:cNvPr id="6" name="Picture 6" descr="Text&#10;&#10;Description automatically generated">
            <a:extLst>
              <a:ext uri="{FF2B5EF4-FFF2-40B4-BE49-F238E27FC236}">
                <a16:creationId xmlns:a16="http://schemas.microsoft.com/office/drawing/2014/main" id="{41B853E7-DC83-C695-A9A7-763FA445DAE2}"/>
              </a:ext>
            </a:extLst>
          </p:cNvPr>
          <p:cNvPicPr>
            <a:picLocks noChangeAspect="1"/>
          </p:cNvPicPr>
          <p:nvPr/>
        </p:nvPicPr>
        <p:blipFill>
          <a:blip r:embed="rId2"/>
          <a:stretch>
            <a:fillRect/>
          </a:stretch>
        </p:blipFill>
        <p:spPr>
          <a:xfrm>
            <a:off x="6173273" y="-496"/>
            <a:ext cx="4878946" cy="6858990"/>
          </a:xfrm>
          <a:prstGeom prst="rect">
            <a:avLst/>
          </a:prstGeom>
        </p:spPr>
      </p:pic>
    </p:spTree>
    <p:extLst>
      <p:ext uri="{BB962C8B-B14F-4D97-AF65-F5344CB8AC3E}">
        <p14:creationId xmlns:p14="http://schemas.microsoft.com/office/powerpoint/2010/main" val="62702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12">
            <a:extLst>
              <a:ext uri="{FF2B5EF4-FFF2-40B4-BE49-F238E27FC236}">
                <a16:creationId xmlns:a16="http://schemas.microsoft.com/office/drawing/2014/main" id="{E8A8EAB8-D2FF-444D-B34B-7D32F106AD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A4E56A5-271E-5416-1E52-77537F0F3FD8}"/>
              </a:ext>
            </a:extLst>
          </p:cNvPr>
          <p:cNvSpPr>
            <a:spLocks noGrp="1"/>
          </p:cNvSpPr>
          <p:nvPr>
            <p:ph type="title"/>
          </p:nvPr>
        </p:nvSpPr>
        <p:spPr>
          <a:xfrm>
            <a:off x="427892" y="448721"/>
            <a:ext cx="5528286" cy="1237373"/>
          </a:xfrm>
        </p:spPr>
        <p:txBody>
          <a:bodyPr anchor="b">
            <a:normAutofit fontScale="90000"/>
          </a:bodyPr>
          <a:lstStyle/>
          <a:p>
            <a:pPr algn="ctr"/>
            <a:r>
              <a:rPr lang="en-US" sz="3800" dirty="0">
                <a:solidFill>
                  <a:schemeClr val="bg1"/>
                </a:solidFill>
                <a:ea typeface="Lato Medium"/>
                <a:cs typeface="Lato Medium"/>
              </a:rPr>
              <a:t>Toxic: A Black Woman's Story FREE Screening TODAY!</a:t>
            </a:r>
            <a:endParaRPr lang="en-US" sz="3800" dirty="0">
              <a:solidFill>
                <a:schemeClr val="bg1"/>
              </a:solidFill>
            </a:endParaRPr>
          </a:p>
        </p:txBody>
      </p:sp>
      <p:cxnSp>
        <p:nvCxnSpPr>
          <p:cNvPr id="28" name="Straight Connector 14">
            <a:extLst>
              <a:ext uri="{FF2B5EF4-FFF2-40B4-BE49-F238E27FC236}">
                <a16:creationId xmlns:a16="http://schemas.microsoft.com/office/drawing/2014/main" id="{EEA38897-7BA3-4408-8083-3235339C4A6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1873" y="1749756"/>
            <a:ext cx="47183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Content Placeholder 9">
            <a:extLst>
              <a:ext uri="{FF2B5EF4-FFF2-40B4-BE49-F238E27FC236}">
                <a16:creationId xmlns:a16="http://schemas.microsoft.com/office/drawing/2014/main" id="{5BD81D48-0B8E-E379-4F9B-B61C0A958991}"/>
              </a:ext>
            </a:extLst>
          </p:cNvPr>
          <p:cNvSpPr>
            <a:spLocks noGrp="1"/>
          </p:cNvSpPr>
          <p:nvPr>
            <p:ph idx="1"/>
          </p:nvPr>
        </p:nvSpPr>
        <p:spPr>
          <a:xfrm>
            <a:off x="897769" y="1909192"/>
            <a:ext cx="4586513" cy="3647710"/>
          </a:xfrm>
        </p:spPr>
        <p:txBody>
          <a:bodyPr vert="horz" lIns="91440" tIns="45720" rIns="91440" bIns="45720" rtlCol="0" anchor="t">
            <a:normAutofit fontScale="92500"/>
          </a:bodyPr>
          <a:lstStyle/>
          <a:p>
            <a:r>
              <a:rPr lang="en-US" sz="2000" u="sng" dirty="0">
                <a:solidFill>
                  <a:schemeClr val="bg1"/>
                </a:solidFill>
                <a:ea typeface="+mn-lt"/>
                <a:cs typeface="+mn-lt"/>
                <a:hlinkClick r:id="rId2">
                  <a:extLst>
                    <a:ext uri="{A12FA001-AC4F-418D-AE19-62706E023703}">
                      <ahyp:hlinkClr xmlns:ahyp="http://schemas.microsoft.com/office/drawing/2018/hyperlinkcolor" val="tx"/>
                    </a:ext>
                  </a:extLst>
                </a:hlinkClick>
              </a:rPr>
              <a:t>Join Courage to Love for a special film screening of Toxic: A Black Women's Story</a:t>
            </a:r>
            <a:endParaRPr lang="en-US" sz="2000" dirty="0">
              <a:solidFill>
                <a:schemeClr val="bg1"/>
              </a:solidFill>
            </a:endParaRPr>
          </a:p>
          <a:p>
            <a:r>
              <a:rPr lang="en-US" sz="2000" dirty="0">
                <a:solidFill>
                  <a:schemeClr val="bg1"/>
                </a:solidFill>
                <a:ea typeface="+mn-lt"/>
                <a:cs typeface="+mn-lt"/>
              </a:rPr>
              <a:t>The screening will be</a:t>
            </a:r>
            <a:r>
              <a:rPr lang="en-US" sz="2000" b="1" dirty="0">
                <a:solidFill>
                  <a:schemeClr val="bg1"/>
                </a:solidFill>
                <a:ea typeface="+mn-lt"/>
                <a:cs typeface="+mn-lt"/>
              </a:rPr>
              <a:t> held via Zoom on Monday, April 17th from 4-6pm CT</a:t>
            </a:r>
            <a:endParaRPr lang="en-US" sz="2000" dirty="0">
              <a:solidFill>
                <a:schemeClr val="bg1"/>
              </a:solidFill>
            </a:endParaRPr>
          </a:p>
          <a:p>
            <a:r>
              <a:rPr lang="en-US" sz="2000" dirty="0">
                <a:solidFill>
                  <a:schemeClr val="bg1"/>
                </a:solidFill>
                <a:ea typeface="+mn-lt"/>
                <a:cs typeface="+mn-lt"/>
              </a:rPr>
              <a:t>The film will be followed by a discussion about how the stress of navigating an unjust world takes a toll on Black women's bodies and how loving and restorative ways of living together can help.</a:t>
            </a:r>
            <a:endParaRPr lang="en-US" sz="2000">
              <a:solidFill>
                <a:schemeClr val="bg1"/>
              </a:solidFill>
            </a:endParaRPr>
          </a:p>
          <a:p>
            <a:endParaRPr lang="en-US" sz="2000" dirty="0">
              <a:solidFill>
                <a:schemeClr val="bg1"/>
              </a:solidFill>
            </a:endParaRPr>
          </a:p>
        </p:txBody>
      </p:sp>
      <p:cxnSp>
        <p:nvCxnSpPr>
          <p:cNvPr id="30" name="Straight Connector 16">
            <a:extLst>
              <a:ext uri="{FF2B5EF4-FFF2-40B4-BE49-F238E27FC236}">
                <a16:creationId xmlns:a16="http://schemas.microsoft.com/office/drawing/2014/main" id="{F11AD06B-AB20-4097-8606-5DA00DBACE8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4027" y="5707672"/>
            <a:ext cx="4713997"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60FBED8C-35AF-856B-3C38-310FDB72E532}"/>
              </a:ext>
            </a:extLst>
          </p:cNvPr>
          <p:cNvSpPr>
            <a:spLocks noGrp="1"/>
          </p:cNvSpPr>
          <p:nvPr>
            <p:ph type="ftr" sz="quarter" idx="11"/>
          </p:nvPr>
        </p:nvSpPr>
        <p:spPr>
          <a:xfrm>
            <a:off x="2374670" y="6356350"/>
            <a:ext cx="3945835"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lumMod val="50000"/>
                  </a:srgbClr>
                </a:solidFill>
                <a:effectLst/>
                <a:uLnTx/>
                <a:uFillTx/>
                <a:latin typeface="Calibri" panose="020F0502020204030204"/>
                <a:ea typeface="+mn-ea"/>
                <a:cs typeface="+mn-cs"/>
              </a:rPr>
              <a:t>Illinois Perinatal Quality Collaborative</a:t>
            </a:r>
          </a:p>
        </p:txBody>
      </p:sp>
      <p:pic>
        <p:nvPicPr>
          <p:cNvPr id="6" name="Picture 6">
            <a:extLst>
              <a:ext uri="{FF2B5EF4-FFF2-40B4-BE49-F238E27FC236}">
                <a16:creationId xmlns:a16="http://schemas.microsoft.com/office/drawing/2014/main" id="{4DBB7579-74E4-07B3-5A58-8C696A68EBA0}"/>
              </a:ext>
            </a:extLst>
          </p:cNvPr>
          <p:cNvPicPr>
            <a:picLocks noChangeAspect="1"/>
          </p:cNvPicPr>
          <p:nvPr/>
        </p:nvPicPr>
        <p:blipFill>
          <a:blip r:embed="rId3"/>
          <a:stretch>
            <a:fillRect/>
          </a:stretch>
        </p:blipFill>
        <p:spPr>
          <a:xfrm>
            <a:off x="6525453" y="0"/>
            <a:ext cx="5297805" cy="6858000"/>
          </a:xfrm>
          <a:prstGeom prst="rect">
            <a:avLst/>
          </a:prstGeom>
        </p:spPr>
      </p:pic>
      <p:sp>
        <p:nvSpPr>
          <p:cNvPr id="4" name="Slide Number Placeholder 3">
            <a:extLst>
              <a:ext uri="{FF2B5EF4-FFF2-40B4-BE49-F238E27FC236}">
                <a16:creationId xmlns:a16="http://schemas.microsoft.com/office/drawing/2014/main" id="{275FB644-50DF-3379-651F-95C9DFF83ED8}"/>
              </a:ext>
            </a:extLst>
          </p:cNvPr>
          <p:cNvSpPr>
            <a:spLocks noGrp="1"/>
          </p:cNvSpPr>
          <p:nvPr>
            <p:ph type="sldNum" sz="quarter" idx="10"/>
          </p:nvPr>
        </p:nvSpPr>
        <p:spPr>
          <a:xfrm>
            <a:off x="9303026" y="6356350"/>
            <a:ext cx="2050774"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25523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065F772-4602-20E8-F56F-13862200C223}"/>
              </a:ext>
            </a:extLst>
          </p:cNvPr>
          <p:cNvSpPr>
            <a:spLocks noGrp="1"/>
          </p:cNvSpPr>
          <p:nvPr>
            <p:ph type="title"/>
          </p:nvPr>
        </p:nvSpPr>
        <p:spPr>
          <a:xfrm>
            <a:off x="630936" y="640080"/>
            <a:ext cx="4818888" cy="1481328"/>
          </a:xfrm>
        </p:spPr>
        <p:txBody>
          <a:bodyPr anchor="b">
            <a:normAutofit/>
          </a:bodyPr>
          <a:lstStyle/>
          <a:p>
            <a:pPr>
              <a:lnSpc>
                <a:spcPct val="90000"/>
              </a:lnSpc>
            </a:pPr>
            <a:r>
              <a:rPr lang="en-US" sz="5000">
                <a:ea typeface="Lato Medium"/>
                <a:cs typeface="Lato Medium"/>
              </a:rPr>
              <a:t>Post-Event Survey</a:t>
            </a:r>
            <a:endParaRPr lang="en-US" sz="5000"/>
          </a:p>
        </p:txBody>
      </p:sp>
      <p:sp>
        <p:nvSpPr>
          <p:cNvPr id="13"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F8BC924-7B8F-B373-2121-7655F387261A}"/>
              </a:ext>
            </a:extLst>
          </p:cNvPr>
          <p:cNvSpPr>
            <a:spLocks noGrp="1"/>
          </p:cNvSpPr>
          <p:nvPr>
            <p:ph idx="1"/>
          </p:nvPr>
        </p:nvSpPr>
        <p:spPr>
          <a:xfrm>
            <a:off x="630936" y="2660904"/>
            <a:ext cx="4818888" cy="3547872"/>
          </a:xfrm>
        </p:spPr>
        <p:txBody>
          <a:bodyPr vert="horz" lIns="91440" tIns="45720" rIns="91440" bIns="45720" rtlCol="0" anchor="t">
            <a:normAutofit/>
          </a:bodyPr>
          <a:lstStyle/>
          <a:p>
            <a:r>
              <a:rPr lang="en-US" sz="2200">
                <a:ea typeface="Lato"/>
                <a:cs typeface="Lato"/>
              </a:rPr>
              <a:t>Key tool in evaluating this effectiveness and acceptability of this strategy for clinical team and community members/ patient partners</a:t>
            </a:r>
            <a:endParaRPr lang="en-US" sz="2200"/>
          </a:p>
          <a:p>
            <a:r>
              <a:rPr lang="en-US" sz="2200">
                <a:ea typeface="Lato"/>
                <a:cs typeface="Lato"/>
              </a:rPr>
              <a:t>Please ask all participants to complete this survey at the end of the event!</a:t>
            </a:r>
          </a:p>
        </p:txBody>
      </p:sp>
      <p:pic>
        <p:nvPicPr>
          <p:cNvPr id="6" name="Picture 6" descr="Qr code&#10;&#10;Description automatically generated">
            <a:extLst>
              <a:ext uri="{FF2B5EF4-FFF2-40B4-BE49-F238E27FC236}">
                <a16:creationId xmlns:a16="http://schemas.microsoft.com/office/drawing/2014/main" id="{59EB8176-6872-DACB-1653-47FEDFE3105E}"/>
              </a:ext>
            </a:extLst>
          </p:cNvPr>
          <p:cNvPicPr>
            <a:picLocks noChangeAspect="1"/>
          </p:cNvPicPr>
          <p:nvPr/>
        </p:nvPicPr>
        <p:blipFill>
          <a:blip r:embed="rId2"/>
          <a:stretch>
            <a:fillRect/>
          </a:stretch>
        </p:blipFill>
        <p:spPr>
          <a:xfrm>
            <a:off x="6583452" y="640080"/>
            <a:ext cx="4490160" cy="5577840"/>
          </a:xfrm>
          <a:prstGeom prst="rect">
            <a:avLst/>
          </a:prstGeom>
        </p:spPr>
      </p:pic>
      <p:sp>
        <p:nvSpPr>
          <p:cNvPr id="5" name="Footer Placeholder 4">
            <a:extLst>
              <a:ext uri="{FF2B5EF4-FFF2-40B4-BE49-F238E27FC236}">
                <a16:creationId xmlns:a16="http://schemas.microsoft.com/office/drawing/2014/main" id="{DF841AF1-0C99-0B6F-2DC1-B81A03BC4219}"/>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E6181A2B-00DB-E58E-1231-2791B6CF892F}"/>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30</a:t>
            </a:fld>
            <a:endParaRPr lang="en-US"/>
          </a:p>
        </p:txBody>
      </p:sp>
    </p:spTree>
    <p:extLst>
      <p:ext uri="{BB962C8B-B14F-4D97-AF65-F5344CB8AC3E}">
        <p14:creationId xmlns:p14="http://schemas.microsoft.com/office/powerpoint/2010/main" val="11635486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Calibri"/>
                <a:cs typeface="Calibri"/>
              </a:rPr>
              <a:t>Respectful Care Practices and PREM</a:t>
            </a:r>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r>
              <a:rPr lang="en-US" sz="2600" b="1">
                <a:ea typeface="Lato"/>
                <a:cs typeface="Lato"/>
              </a:rPr>
              <a:t>Connecting the dots</a:t>
            </a:r>
            <a:endParaRPr lang="en-US" sz="2600" b="1"/>
          </a:p>
        </p:txBody>
      </p:sp>
    </p:spTree>
    <p:extLst>
      <p:ext uri="{BB962C8B-B14F-4D97-AF65-F5344CB8AC3E}">
        <p14:creationId xmlns:p14="http://schemas.microsoft.com/office/powerpoint/2010/main" val="21766825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651" y="2268001"/>
            <a:ext cx="3704099" cy="45899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758750" y="22389"/>
            <a:ext cx="4730328" cy="32113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9079" y="2101560"/>
            <a:ext cx="3704098" cy="467184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4741" y="83221"/>
            <a:ext cx="1619181" cy="21015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75145">
            <a:off x="1271414" y="828096"/>
            <a:ext cx="611809" cy="611809"/>
          </a:xfrm>
          <a:prstGeom prst="rect">
            <a:avLst/>
          </a:prstGeom>
        </p:spPr>
      </p:pic>
      <p:graphicFrame>
        <p:nvGraphicFramePr>
          <p:cNvPr id="6" name="Diagram 5"/>
          <p:cNvGraphicFramePr/>
          <p:nvPr/>
        </p:nvGraphicFramePr>
        <p:xfrm>
          <a:off x="2800141" y="3140829"/>
          <a:ext cx="6876476" cy="357351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9906257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ea typeface="Lato Medium"/>
                <a:cs typeface="Lato Medium"/>
              </a:rPr>
              <a:t>Respectful Care Practices</a:t>
            </a:r>
            <a:br>
              <a:rPr lang="en-US">
                <a:ea typeface="Lato Medium"/>
                <a:cs typeface="Lato Medium"/>
              </a:rPr>
            </a:br>
            <a:r>
              <a:rPr lang="en-US">
                <a:ea typeface="Lato Medium"/>
                <a:cs typeface="Lato Medium"/>
              </a:rPr>
              <a:t>We commit to…</a:t>
            </a:r>
            <a:br>
              <a:rPr lang="en-US"/>
            </a:br>
            <a:endParaRPr lang="en-US"/>
          </a:p>
        </p:txBody>
      </p:sp>
      <p:sp>
        <p:nvSpPr>
          <p:cNvPr id="5" name="Content Placeholder 4"/>
          <p:cNvSpPr>
            <a:spLocks noGrp="1"/>
          </p:cNvSpPr>
          <p:nvPr>
            <p:ph sz="half" idx="1"/>
          </p:nvPr>
        </p:nvSpPr>
        <p:spPr>
          <a:xfrm>
            <a:off x="452437" y="1585133"/>
            <a:ext cx="3952875" cy="4486273"/>
          </a:xfrm>
        </p:spPr>
        <p:txBody>
          <a:bodyPr>
            <a:noAutofit/>
          </a:bodyPr>
          <a:lstStyle/>
          <a:p>
            <a:pPr>
              <a:buFont typeface="+mj-lt"/>
              <a:buAutoNum type="arabicPeriod"/>
            </a:pPr>
            <a:r>
              <a:rPr lang="en-US" sz="1600" b="1"/>
              <a:t>Treating you with dignity and respect </a:t>
            </a:r>
            <a:r>
              <a:rPr lang="en-US" sz="1600"/>
              <a:t>throughout your hospital stay</a:t>
            </a:r>
          </a:p>
          <a:p>
            <a:pPr>
              <a:buFont typeface="+mj-lt"/>
              <a:buAutoNum type="arabicPeriod"/>
            </a:pPr>
            <a:r>
              <a:rPr lang="en-US" sz="1600" b="1"/>
              <a:t>Introducing ourselves and our role </a:t>
            </a:r>
            <a:r>
              <a:rPr lang="en-US" sz="1600"/>
              <a:t>on your care team to you and your support persons upon entering the room</a:t>
            </a:r>
          </a:p>
          <a:p>
            <a:pPr>
              <a:buFont typeface="+mj-lt"/>
              <a:buAutoNum type="arabicPeriod"/>
            </a:pPr>
            <a:r>
              <a:rPr lang="en-US" sz="1600" b="1"/>
              <a:t>Learning your goals for delivery and postpartum: </a:t>
            </a:r>
            <a:r>
              <a:rPr lang="en-US" sz="1600"/>
              <a:t>What is important to you for labor and birth? What are your concerns regarding your birth experience? How can we best support you?</a:t>
            </a:r>
          </a:p>
          <a:p>
            <a:pPr>
              <a:buFont typeface="+mj-lt"/>
              <a:buAutoNum type="arabicPeriod"/>
            </a:pPr>
            <a:r>
              <a:rPr lang="en-US" sz="1600" b="1"/>
              <a:t>Working to understand you, </a:t>
            </a:r>
            <a:r>
              <a:rPr lang="en-US" sz="1600"/>
              <a:t>your background, your home life, and your health history so we can make sure you receive the care you need during your birth and recovery. </a:t>
            </a:r>
          </a:p>
          <a:p>
            <a:pPr marL="0" indent="0">
              <a:buNone/>
            </a:pPr>
            <a:endParaRPr lang="en-US" sz="800"/>
          </a:p>
        </p:txBody>
      </p:sp>
      <p:sp>
        <p:nvSpPr>
          <p:cNvPr id="6" name="Content Placeholder 5"/>
          <p:cNvSpPr>
            <a:spLocks noGrp="1"/>
          </p:cNvSpPr>
          <p:nvPr>
            <p:ph sz="half" idx="2"/>
          </p:nvPr>
        </p:nvSpPr>
        <p:spPr>
          <a:xfrm>
            <a:off x="4405312" y="1495435"/>
            <a:ext cx="3990976" cy="4486273"/>
          </a:xfrm>
        </p:spPr>
        <p:txBody>
          <a:bodyPr>
            <a:noAutofit/>
          </a:bodyPr>
          <a:lstStyle/>
          <a:p>
            <a:pPr marL="342900" lvl="0" indent="-342900">
              <a:buClr>
                <a:srgbClr val="F5668F"/>
              </a:buClr>
              <a:buFont typeface="+mj-lt"/>
              <a:buAutoNum type="arabicPeriod" startAt="5"/>
            </a:pPr>
            <a:r>
              <a:rPr lang="en-US" sz="1600" b="1">
                <a:solidFill>
                  <a:srgbClr val="444C55"/>
                </a:solidFill>
              </a:rPr>
              <a:t>Communicating effectively </a:t>
            </a:r>
            <a:r>
              <a:rPr lang="en-US" sz="1600">
                <a:solidFill>
                  <a:srgbClr val="444C55"/>
                </a:solidFill>
              </a:rPr>
              <a:t>across your health care team to ensure the best care for you</a:t>
            </a:r>
          </a:p>
          <a:p>
            <a:pPr marL="342900" lvl="0" indent="-342900">
              <a:buClr>
                <a:srgbClr val="F5668F"/>
              </a:buClr>
              <a:buFont typeface="+mj-lt"/>
              <a:buAutoNum type="arabicPeriod" startAt="5"/>
            </a:pPr>
            <a:r>
              <a:rPr lang="en-US" sz="1600" b="1">
                <a:solidFill>
                  <a:srgbClr val="444C55"/>
                </a:solidFill>
              </a:rPr>
              <a:t>Partnering with you for all decisions </a:t>
            </a:r>
            <a:r>
              <a:rPr lang="en-US" sz="1600">
                <a:solidFill>
                  <a:srgbClr val="444C55"/>
                </a:solidFill>
              </a:rPr>
              <a:t>so that you can make choices that are right for you</a:t>
            </a:r>
          </a:p>
          <a:p>
            <a:pPr marL="342900" lvl="0" indent="-342900">
              <a:buClr>
                <a:srgbClr val="F5668F"/>
              </a:buClr>
              <a:buFont typeface="+mj-lt"/>
              <a:buAutoNum type="arabicPeriod" startAt="5"/>
            </a:pPr>
            <a:r>
              <a:rPr lang="en-US" sz="1600" b="1">
                <a:solidFill>
                  <a:srgbClr val="444C55"/>
                </a:solidFill>
              </a:rPr>
              <a:t>Practicing “active listening”</a:t>
            </a:r>
            <a:r>
              <a:rPr lang="en-US" sz="1600">
                <a:solidFill>
                  <a:srgbClr val="444C55"/>
                </a:solidFill>
              </a:rPr>
              <a:t>—to ensure that you, and your support persons are heard</a:t>
            </a:r>
          </a:p>
          <a:p>
            <a:pPr marL="342900" lvl="0" indent="-342900">
              <a:buClr>
                <a:srgbClr val="F5668F"/>
              </a:buClr>
              <a:buFont typeface="+mj-lt"/>
              <a:buAutoNum type="arabicPeriod" startAt="5"/>
            </a:pPr>
            <a:r>
              <a:rPr lang="en-US" sz="1600" b="1">
                <a:solidFill>
                  <a:srgbClr val="444C55"/>
                </a:solidFill>
              </a:rPr>
              <a:t>Valuing personal boundaries and respecting your dignity and modesty at all times</a:t>
            </a:r>
            <a:r>
              <a:rPr lang="en-US" sz="1600">
                <a:solidFill>
                  <a:srgbClr val="444C55"/>
                </a:solidFill>
              </a:rPr>
              <a:t>, including asking your permission before entering a room or touching you</a:t>
            </a:r>
          </a:p>
          <a:p>
            <a:pPr marL="342900" lvl="0" indent="-342900">
              <a:buClr>
                <a:srgbClr val="F5668F"/>
              </a:buClr>
              <a:buFont typeface="+mj-lt"/>
              <a:buAutoNum type="arabicPeriod" startAt="5"/>
            </a:pPr>
            <a:r>
              <a:rPr lang="en-US" sz="1600" b="1">
                <a:solidFill>
                  <a:srgbClr val="444C55"/>
                </a:solidFill>
              </a:rPr>
              <a:t>Recognizing your prior experiences with healthcare may affect how you feel during your birth</a:t>
            </a:r>
            <a:r>
              <a:rPr lang="en-US" sz="1600">
                <a:solidFill>
                  <a:srgbClr val="444C55"/>
                </a:solidFill>
              </a:rPr>
              <a:t>, we will strive at all times to provide safe, equitable and respectful care</a:t>
            </a:r>
          </a:p>
        </p:txBody>
      </p:sp>
      <p:sp>
        <p:nvSpPr>
          <p:cNvPr id="7" name="Content Placeholder 5"/>
          <p:cNvSpPr txBox="1">
            <a:spLocks/>
          </p:cNvSpPr>
          <p:nvPr/>
        </p:nvSpPr>
        <p:spPr>
          <a:xfrm>
            <a:off x="8358187" y="1504970"/>
            <a:ext cx="3857626"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rgbClr val="F5668F"/>
              </a:buClr>
              <a:buFont typeface="+mj-lt"/>
              <a:buAutoNum type="arabicPeriod" startAt="10"/>
            </a:pPr>
            <a:r>
              <a:rPr lang="en-US" sz="1600" b="1">
                <a:solidFill>
                  <a:srgbClr val="444C55"/>
                </a:solidFill>
              </a:rPr>
              <a:t>Making sure you are discharged after delivery with an understanding of postpartum warning signs</a:t>
            </a:r>
            <a:r>
              <a:rPr lang="en-US" sz="1600">
                <a:solidFill>
                  <a:srgbClr val="444C55"/>
                </a:solidFill>
              </a:rPr>
              <a:t>, where to call with concerns, and with postpartum follow-up care visits arranged</a:t>
            </a:r>
          </a:p>
          <a:p>
            <a:pPr marL="342900" indent="-342900">
              <a:buClr>
                <a:srgbClr val="F5668F"/>
              </a:buClr>
              <a:buFont typeface="+mj-lt"/>
              <a:buAutoNum type="arabicPeriod" startAt="10"/>
            </a:pPr>
            <a:r>
              <a:rPr lang="en-US" sz="1600" b="1">
                <a:solidFill>
                  <a:srgbClr val="444C55"/>
                </a:solidFill>
              </a:rPr>
              <a:t>Ensuring you are discharged with the skills, support and resources </a:t>
            </a:r>
            <a:r>
              <a:rPr lang="en-US" sz="1600">
                <a:solidFill>
                  <a:srgbClr val="444C55"/>
                </a:solidFill>
              </a:rPr>
              <a:t>to care for yourself and your baby</a:t>
            </a:r>
          </a:p>
          <a:p>
            <a:pPr marL="342900" indent="-342900">
              <a:buClr>
                <a:srgbClr val="F5668F"/>
              </a:buClr>
              <a:buFont typeface="+mj-lt"/>
              <a:buAutoNum type="arabicPeriod" startAt="10"/>
            </a:pPr>
            <a:r>
              <a:rPr lang="en-US" sz="1600" b="1">
                <a:solidFill>
                  <a:srgbClr val="444C55"/>
                </a:solidFill>
              </a:rPr>
              <a:t>Protecting your privacy </a:t>
            </a:r>
            <a:r>
              <a:rPr lang="en-US" sz="1600">
                <a:solidFill>
                  <a:srgbClr val="444C55"/>
                </a:solidFill>
              </a:rPr>
              <a:t>and keeping your medical information confidential</a:t>
            </a:r>
          </a:p>
          <a:p>
            <a:pPr marL="342900" indent="-342900">
              <a:buClr>
                <a:srgbClr val="F5668F"/>
              </a:buClr>
              <a:buFont typeface="+mj-lt"/>
              <a:buAutoNum type="arabicPeriod" startAt="10"/>
            </a:pPr>
            <a:r>
              <a:rPr lang="en-US" sz="1600" b="1">
                <a:solidFill>
                  <a:srgbClr val="444C55"/>
                </a:solidFill>
              </a:rPr>
              <a:t>Being ready to hear any concerns </a:t>
            </a:r>
            <a:r>
              <a:rPr lang="en-US" sz="1600">
                <a:solidFill>
                  <a:srgbClr val="444C55"/>
                </a:solidFill>
              </a:rPr>
              <a:t>or ways that we can improve your care</a:t>
            </a:r>
          </a:p>
          <a:p>
            <a:endParaRPr lang="en-US"/>
          </a:p>
        </p:txBody>
      </p:sp>
    </p:spTree>
    <p:extLst>
      <p:ext uri="{BB962C8B-B14F-4D97-AF65-F5344CB8AC3E}">
        <p14:creationId xmlns:p14="http://schemas.microsoft.com/office/powerpoint/2010/main" val="38402699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A6098-A163-B19B-42AE-608DEB95F403}"/>
              </a:ext>
            </a:extLst>
          </p:cNvPr>
          <p:cNvSpPr>
            <a:spLocks noGrp="1"/>
          </p:cNvSpPr>
          <p:nvPr>
            <p:ph type="title"/>
          </p:nvPr>
        </p:nvSpPr>
        <p:spPr>
          <a:xfrm>
            <a:off x="79744" y="-72032"/>
            <a:ext cx="8220799" cy="1350963"/>
          </a:xfrm>
          <a:noFill/>
        </p:spPr>
        <p:txBody>
          <a:bodyPr>
            <a:noAutofit/>
          </a:bodyPr>
          <a:lstStyle/>
          <a:p>
            <a:r>
              <a:rPr lang="en-US" sz="2800" dirty="0">
                <a:ea typeface="Lato Medium"/>
                <a:cs typeface="Lato Medium"/>
              </a:rPr>
              <a:t>How do PREM survey questions align with the 13 Respectful Care Practices? </a:t>
            </a:r>
            <a:r>
              <a:rPr lang="en-US" sz="2800" b="1" dirty="0">
                <a:ea typeface="Lato Medium"/>
                <a:cs typeface="Lato Medium"/>
              </a:rPr>
              <a:t>Here are a Few Examples!</a:t>
            </a:r>
            <a:endParaRPr lang="en-US" sz="2800" b="1"/>
          </a:p>
        </p:txBody>
      </p:sp>
      <p:sp>
        <p:nvSpPr>
          <p:cNvPr id="5" name="Slide Number Placeholder 4">
            <a:extLst>
              <a:ext uri="{FF2B5EF4-FFF2-40B4-BE49-F238E27FC236}">
                <a16:creationId xmlns:a16="http://schemas.microsoft.com/office/drawing/2014/main" id="{C2152817-AE36-424E-695D-152256E4AEE5}"/>
              </a:ext>
            </a:extLst>
          </p:cNvPr>
          <p:cNvSpPr>
            <a:spLocks noGrp="1"/>
          </p:cNvSpPr>
          <p:nvPr>
            <p:ph type="sldNum" sz="quarter" idx="10"/>
          </p:nvPr>
        </p:nvSpPr>
        <p:spPr/>
        <p:txBody>
          <a:bodyPr/>
          <a:lstStyle/>
          <a:p>
            <a:fld id="{97033E4B-E3EB-3D46-B2D8-3159663620FA}" type="slidenum">
              <a:rPr lang="en-US" smtClean="0"/>
              <a:t>34</a:t>
            </a:fld>
            <a:endParaRPr lang="en-US"/>
          </a:p>
        </p:txBody>
      </p:sp>
      <p:sp>
        <p:nvSpPr>
          <p:cNvPr id="6" name="Footer Placeholder 5">
            <a:extLst>
              <a:ext uri="{FF2B5EF4-FFF2-40B4-BE49-F238E27FC236}">
                <a16:creationId xmlns:a16="http://schemas.microsoft.com/office/drawing/2014/main" id="{95AEB265-9179-4A7C-4945-E494BE025B6E}"/>
              </a:ext>
            </a:extLst>
          </p:cNvPr>
          <p:cNvSpPr>
            <a:spLocks noGrp="1"/>
          </p:cNvSpPr>
          <p:nvPr>
            <p:ph type="ftr" sz="quarter" idx="11"/>
          </p:nvPr>
        </p:nvSpPr>
        <p:spPr/>
        <p:txBody>
          <a:bodyPr/>
          <a:lstStyle/>
          <a:p>
            <a:pPr algn="l"/>
            <a:r>
              <a:rPr lang="en-US"/>
              <a:t>Illinois Perinatal Quality Collaborative</a:t>
            </a:r>
          </a:p>
        </p:txBody>
      </p:sp>
      <p:graphicFrame>
        <p:nvGraphicFramePr>
          <p:cNvPr id="9" name="Table 9">
            <a:extLst>
              <a:ext uri="{FF2B5EF4-FFF2-40B4-BE49-F238E27FC236}">
                <a16:creationId xmlns:a16="http://schemas.microsoft.com/office/drawing/2014/main" id="{4990D3F3-170D-AA32-D0E1-26DC71F2D9EE}"/>
              </a:ext>
            </a:extLst>
          </p:cNvPr>
          <p:cNvGraphicFramePr>
            <a:graphicFrameLocks noGrp="1"/>
          </p:cNvGraphicFramePr>
          <p:nvPr>
            <p:extLst>
              <p:ext uri="{D42A27DB-BD31-4B8C-83A1-F6EECF244321}">
                <p14:modId xmlns:p14="http://schemas.microsoft.com/office/powerpoint/2010/main" val="170434863"/>
              </p:ext>
            </p:extLst>
          </p:nvPr>
        </p:nvGraphicFramePr>
        <p:xfrm>
          <a:off x="468570" y="1164435"/>
          <a:ext cx="11275438" cy="5181372"/>
        </p:xfrm>
        <a:graphic>
          <a:graphicData uri="http://schemas.openxmlformats.org/drawingml/2006/table">
            <a:tbl>
              <a:tblPr firstRow="1" bandRow="1">
                <a:tableStyleId>{5C22544A-7EE6-4342-B048-85BDC9FD1C3A}</a:tableStyleId>
              </a:tblPr>
              <a:tblGrid>
                <a:gridCol w="5637719">
                  <a:extLst>
                    <a:ext uri="{9D8B030D-6E8A-4147-A177-3AD203B41FA5}">
                      <a16:colId xmlns:a16="http://schemas.microsoft.com/office/drawing/2014/main" val="1859794799"/>
                    </a:ext>
                  </a:extLst>
                </a:gridCol>
                <a:gridCol w="5637719">
                  <a:extLst>
                    <a:ext uri="{9D8B030D-6E8A-4147-A177-3AD203B41FA5}">
                      <a16:colId xmlns:a16="http://schemas.microsoft.com/office/drawing/2014/main" val="2014552547"/>
                    </a:ext>
                  </a:extLst>
                </a:gridCol>
              </a:tblGrid>
              <a:tr h="299062">
                <a:tc>
                  <a:txBody>
                    <a:bodyPr/>
                    <a:lstStyle/>
                    <a:p>
                      <a:pPr algn="ctr"/>
                      <a:r>
                        <a:rPr lang="en-US" dirty="0"/>
                        <a:t>Respectful Care Practice Measure</a:t>
                      </a:r>
                    </a:p>
                  </a:txBody>
                  <a:tcPr/>
                </a:tc>
                <a:tc>
                  <a:txBody>
                    <a:bodyPr/>
                    <a:lstStyle/>
                    <a:p>
                      <a:pPr lvl="0" algn="ctr">
                        <a:buNone/>
                      </a:pPr>
                      <a:r>
                        <a:rPr lang="en-US" dirty="0"/>
                        <a:t>PREM Question</a:t>
                      </a:r>
                      <a:endParaRPr lang="en-US"/>
                    </a:p>
                  </a:txBody>
                  <a:tcPr/>
                </a:tc>
                <a:extLst>
                  <a:ext uri="{0D108BD9-81ED-4DB2-BD59-A6C34878D82A}">
                    <a16:rowId xmlns:a16="http://schemas.microsoft.com/office/drawing/2014/main" val="299672472"/>
                  </a:ext>
                </a:extLst>
              </a:tr>
              <a:tr h="1461332">
                <a:tc>
                  <a:txBody>
                    <a:bodyPr/>
                    <a:lstStyle/>
                    <a:p>
                      <a:pPr lvl="0">
                        <a:buNone/>
                      </a:pPr>
                      <a:r>
                        <a:rPr lang="en-US" sz="1800" b="0" i="0" u="none" strike="noStrike" noProof="0" dirty="0">
                          <a:latin typeface="Arial"/>
                        </a:rPr>
                        <a:t>#6: </a:t>
                      </a:r>
                      <a:r>
                        <a:rPr lang="en-US" sz="1800" b="1" i="0" u="none" strike="noStrike" noProof="0" dirty="0">
                          <a:latin typeface="Arial"/>
                        </a:rPr>
                        <a:t>Partnering with you for all decisions</a:t>
                      </a:r>
                      <a:r>
                        <a:rPr lang="en-US" sz="1800" b="0" i="0" u="none" strike="noStrike" noProof="0" dirty="0">
                          <a:latin typeface="Arial"/>
                        </a:rPr>
                        <a:t> so that you can make choices that are right for you.</a:t>
                      </a:r>
                      <a:endParaRPr lang="en-US" dirty="0"/>
                    </a:p>
                  </a:txBody>
                  <a:tcPr/>
                </a:tc>
                <a:tc>
                  <a:txBody>
                    <a:bodyPr/>
                    <a:lstStyle/>
                    <a:p>
                      <a:pPr lvl="0">
                        <a:buNone/>
                      </a:pPr>
                      <a:r>
                        <a:rPr lang="en-US" sz="1800" b="0" i="0" u="none" strike="noStrike" noProof="0" dirty="0">
                          <a:latin typeface="Arial"/>
                        </a:rPr>
                        <a:t>#1: I could take part in decisions about my care.</a:t>
                      </a:r>
                      <a:endParaRPr lang="en-US"/>
                    </a:p>
                    <a:p>
                      <a:pPr marL="0" marR="0" lvl="0" indent="0" algn="l" rtl="0">
                        <a:lnSpc>
                          <a:spcPct val="100000"/>
                        </a:lnSpc>
                        <a:spcBef>
                          <a:spcPts val="0"/>
                        </a:spcBef>
                        <a:spcAft>
                          <a:spcPts val="0"/>
                        </a:spcAft>
                        <a:buClrTx/>
                        <a:buSzTx/>
                        <a:buFontTx/>
                        <a:buNone/>
                      </a:pPr>
                      <a:r>
                        <a:rPr lang="en-US" dirty="0">
                          <a:latin typeface="Arial"/>
                        </a:rPr>
                        <a:t>#8: </a:t>
                      </a:r>
                      <a:r>
                        <a:rPr lang="en-US" sz="1800" b="0" i="0" u="none" strike="noStrike" noProof="0" dirty="0">
                          <a:latin typeface="Arial"/>
                        </a:rPr>
                        <a:t>I felt pressured by the health care team into accepting care I did not want or did not understand. </a:t>
                      </a:r>
                      <a:endParaRPr lang="en-US"/>
                    </a:p>
                    <a:p>
                      <a:pPr marL="0" marR="0" lvl="0" indent="0" algn="l" rtl="0">
                        <a:lnSpc>
                          <a:spcPct val="100000"/>
                        </a:lnSpc>
                        <a:spcBef>
                          <a:spcPts val="0"/>
                        </a:spcBef>
                        <a:spcAft>
                          <a:spcPts val="0"/>
                        </a:spcAft>
                        <a:buClrTx/>
                        <a:buSzTx/>
                        <a:buFontTx/>
                        <a:buNone/>
                      </a:pPr>
                      <a:r>
                        <a:rPr lang="en-US" dirty="0">
                          <a:latin typeface="Arial"/>
                        </a:rPr>
                        <a:t>#9: </a:t>
                      </a:r>
                      <a:r>
                        <a:rPr lang="en-US" sz="1800" b="0" i="0" u="none" strike="noStrike" noProof="0" dirty="0">
                          <a:latin typeface="Arial"/>
                        </a:rPr>
                        <a:t>When the health care team could not meet my wishes, they explained why. </a:t>
                      </a:r>
                    </a:p>
                  </a:txBody>
                  <a:tcPr/>
                </a:tc>
                <a:extLst>
                  <a:ext uri="{0D108BD9-81ED-4DB2-BD59-A6C34878D82A}">
                    <a16:rowId xmlns:a16="http://schemas.microsoft.com/office/drawing/2014/main" val="3461869938"/>
                  </a:ext>
                </a:extLst>
              </a:tr>
              <a:tr h="686484">
                <a:tc>
                  <a:txBody>
                    <a:bodyPr/>
                    <a:lstStyle/>
                    <a:p>
                      <a:pPr lvl="0">
                        <a:buNone/>
                      </a:pPr>
                      <a:r>
                        <a:rPr lang="en-US" sz="1800" b="0" i="0" u="none" strike="noStrike" noProof="0" dirty="0">
                          <a:latin typeface="Arial"/>
                        </a:rPr>
                        <a:t>#7: </a:t>
                      </a:r>
                      <a:r>
                        <a:rPr lang="en-US" sz="1800" b="1" i="0" u="none" strike="noStrike" noProof="0" dirty="0">
                          <a:latin typeface="Arial"/>
                        </a:rPr>
                        <a:t>Practicing "active listening"</a:t>
                      </a:r>
                      <a:r>
                        <a:rPr lang="en-US" sz="1800" b="0" i="0" u="none" strike="noStrike" noProof="0" dirty="0">
                          <a:latin typeface="Arial"/>
                        </a:rPr>
                        <a:t> - to ensure that you, and your support persons are heard</a:t>
                      </a:r>
                      <a:endParaRPr lang="en-US" dirty="0"/>
                    </a:p>
                  </a:txBody>
                  <a:tcPr/>
                </a:tc>
                <a:tc>
                  <a:txBody>
                    <a:bodyPr/>
                    <a:lstStyle/>
                    <a:p>
                      <a:pPr lvl="0">
                        <a:buNone/>
                      </a:pPr>
                      <a:r>
                        <a:rPr lang="en-US" sz="1800" b="0" i="0" u="none" strike="noStrike" noProof="0" dirty="0">
                          <a:latin typeface="Arial"/>
                        </a:rPr>
                        <a:t>#3: My health care team did a good job listening to me, I felt heard.</a:t>
                      </a:r>
                      <a:endParaRPr lang="en-US" dirty="0"/>
                    </a:p>
                  </a:txBody>
                  <a:tcPr/>
                </a:tc>
                <a:extLst>
                  <a:ext uri="{0D108BD9-81ED-4DB2-BD59-A6C34878D82A}">
                    <a16:rowId xmlns:a16="http://schemas.microsoft.com/office/drawing/2014/main" val="2005350640"/>
                  </a:ext>
                </a:extLst>
              </a:tr>
              <a:tr h="1203048">
                <a:tc>
                  <a:txBody>
                    <a:bodyPr/>
                    <a:lstStyle/>
                    <a:p>
                      <a:pPr lvl="0">
                        <a:buNone/>
                      </a:pPr>
                      <a:r>
                        <a:rPr lang="en-US" sz="1800" b="0" i="0" u="none" strike="noStrike" noProof="0" dirty="0">
                          <a:latin typeface="Arial"/>
                        </a:rPr>
                        <a:t>#4: </a:t>
                      </a:r>
                      <a:r>
                        <a:rPr lang="en-US" sz="1800" b="1" i="0" u="none" strike="noStrike" noProof="0" dirty="0">
                          <a:latin typeface="Arial"/>
                        </a:rPr>
                        <a:t>Working to understand you</a:t>
                      </a:r>
                      <a:r>
                        <a:rPr lang="en-US" sz="1800" b="0" i="0" u="none" strike="noStrike" noProof="0" dirty="0">
                          <a:latin typeface="Arial"/>
                        </a:rPr>
                        <a:t>, your background, your home life and your health history so we can make sure you receive the care you need during your birth and recovery</a:t>
                      </a:r>
                      <a:endParaRPr lang="en-US" dirty="0"/>
                    </a:p>
                  </a:txBody>
                  <a:tcPr/>
                </a:tc>
                <a:tc>
                  <a:txBody>
                    <a:bodyPr/>
                    <a:lstStyle/>
                    <a:p>
                      <a:pPr lvl="0" algn="l">
                        <a:lnSpc>
                          <a:spcPct val="100000"/>
                        </a:lnSpc>
                        <a:spcBef>
                          <a:spcPts val="0"/>
                        </a:spcBef>
                        <a:spcAft>
                          <a:spcPts val="0"/>
                        </a:spcAft>
                        <a:buNone/>
                      </a:pPr>
                      <a:r>
                        <a:rPr lang="en-US" sz="1800" b="0" i="0" u="none" strike="noStrike" noProof="0" dirty="0">
                          <a:latin typeface="Arial"/>
                        </a:rPr>
                        <a:t>#5: My health care team understood my background, home life and health history</a:t>
                      </a:r>
                      <a:endParaRPr lang="en-US" dirty="0"/>
                    </a:p>
                  </a:txBody>
                  <a:tcPr/>
                </a:tc>
                <a:extLst>
                  <a:ext uri="{0D108BD9-81ED-4DB2-BD59-A6C34878D82A}">
                    <a16:rowId xmlns:a16="http://schemas.microsoft.com/office/drawing/2014/main" val="127160423"/>
                  </a:ext>
                </a:extLst>
              </a:tr>
              <a:tr h="1461332">
                <a:tc>
                  <a:txBody>
                    <a:bodyPr/>
                    <a:lstStyle/>
                    <a:p>
                      <a:pPr lvl="0">
                        <a:buNone/>
                      </a:pPr>
                      <a:r>
                        <a:rPr lang="en-US" sz="1800" b="0" i="0" u="none" strike="noStrike" noProof="0" dirty="0">
                          <a:latin typeface="Arial"/>
                        </a:rPr>
                        <a:t>#8: </a:t>
                      </a:r>
                      <a:r>
                        <a:rPr lang="en-US" sz="1800" b="1" i="0" u="none" strike="noStrike" noProof="0" dirty="0">
                          <a:latin typeface="Arial"/>
                        </a:rPr>
                        <a:t>Valuing personal boundaries and respecting your dignity and modesty at all times</a:t>
                      </a:r>
                      <a:r>
                        <a:rPr lang="en-US" sz="1800" b="0" i="0" u="none" strike="noStrike" noProof="0" dirty="0">
                          <a:latin typeface="Arial"/>
                        </a:rPr>
                        <a:t>, including asking your permission before entering a room or touching you</a:t>
                      </a:r>
                      <a:endParaRPr lang="en-US" dirty="0"/>
                    </a:p>
                  </a:txBody>
                  <a:tcPr/>
                </a:tc>
                <a:tc>
                  <a:txBody>
                    <a:bodyPr/>
                    <a:lstStyle/>
                    <a:p>
                      <a:pPr lvl="0">
                        <a:buNone/>
                      </a:pPr>
                      <a:r>
                        <a:rPr lang="en-US" sz="1800" b="0" i="0" u="none" strike="noStrike" noProof="0" dirty="0">
                          <a:latin typeface="Arial"/>
                        </a:rPr>
                        <a:t>#6: My health care team introduced themselves to me, and my support persons, and explained their role in my care when they entered the room. </a:t>
                      </a:r>
                      <a:endParaRPr lang="en-US"/>
                    </a:p>
                    <a:p>
                      <a:pPr lvl="0">
                        <a:buNone/>
                      </a:pPr>
                      <a:r>
                        <a:rPr lang="en-US" sz="1800" b="0" i="0" u="none" strike="noStrike" noProof="0" dirty="0">
                          <a:latin typeface="Arial"/>
                        </a:rPr>
                        <a:t>#7: The health care team asked for my permission before carrying out exams and treatments.</a:t>
                      </a:r>
                      <a:endParaRPr lang="en-US"/>
                    </a:p>
                  </a:txBody>
                  <a:tcPr/>
                </a:tc>
                <a:extLst>
                  <a:ext uri="{0D108BD9-81ED-4DB2-BD59-A6C34878D82A}">
                    <a16:rowId xmlns:a16="http://schemas.microsoft.com/office/drawing/2014/main" val="1978716909"/>
                  </a:ext>
                </a:extLst>
              </a:tr>
            </a:tbl>
          </a:graphicData>
        </a:graphic>
      </p:graphicFrame>
    </p:spTree>
    <p:extLst>
      <p:ext uri="{BB962C8B-B14F-4D97-AF65-F5344CB8AC3E}">
        <p14:creationId xmlns:p14="http://schemas.microsoft.com/office/powerpoint/2010/main" val="75454418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816766"/>
            <a:ext cx="10659342" cy="2014679"/>
          </a:xfrm>
        </p:spPr>
        <p:txBody>
          <a:bodyPr/>
          <a:lstStyle/>
          <a:p>
            <a:r>
              <a:rPr lang="en-US" dirty="0">
                <a:ea typeface="Lato Medium"/>
                <a:cs typeface="Lato Medium"/>
              </a:rPr>
              <a:t>Resources for Active Implementation </a:t>
            </a:r>
            <a:br>
              <a:rPr lang="en-US" dirty="0">
                <a:ea typeface="Lato Medium"/>
                <a:cs typeface="Lato Medium"/>
              </a:rPr>
            </a:br>
            <a:r>
              <a:rPr lang="en-US" dirty="0">
                <a:ea typeface="Lato Medium"/>
                <a:cs typeface="Lato Medium"/>
              </a:rPr>
              <a:t>of  Respectful Care Practices</a:t>
            </a:r>
            <a:endParaRPr lang="en-US" dirty="0"/>
          </a:p>
        </p:txBody>
      </p:sp>
      <p:sp>
        <p:nvSpPr>
          <p:cNvPr id="3" name="Subtitle 2"/>
          <p:cNvSpPr>
            <a:spLocks noGrp="1"/>
          </p:cNvSpPr>
          <p:nvPr>
            <p:ph type="subTitle" idx="1"/>
          </p:nvPr>
        </p:nvSpPr>
        <p:spPr>
          <a:xfrm>
            <a:off x="1413310" y="2952243"/>
            <a:ext cx="9365380" cy="2223021"/>
          </a:xfrm>
        </p:spPr>
        <p:txBody>
          <a:bodyPr vert="horz" lIns="91440" tIns="45720" rIns="91440" bIns="45720" rtlCol="0" anchor="t">
            <a:noAutofit/>
          </a:bodyPr>
          <a:lstStyle/>
          <a:p>
            <a:pPr>
              <a:spcBef>
                <a:spcPts val="0"/>
              </a:spcBef>
              <a:spcAft>
                <a:spcPts val="0"/>
              </a:spcAft>
            </a:pPr>
            <a:endParaRPr lang="en-US" b="1" dirty="0">
              <a:cs typeface="Calibri"/>
            </a:endParaRPr>
          </a:p>
          <a:p>
            <a:endParaRPr lang="en-US" dirty="0">
              <a:cs typeface="Calibri"/>
            </a:endParaRPr>
          </a:p>
        </p:txBody>
      </p:sp>
    </p:spTree>
    <p:extLst>
      <p:ext uri="{BB962C8B-B14F-4D97-AF65-F5344CB8AC3E}">
        <p14:creationId xmlns:p14="http://schemas.microsoft.com/office/powerpoint/2010/main" val="36392401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AE0692-44DF-49C3-8A2D-984EA66C0834}"/>
              </a:ext>
            </a:extLst>
          </p:cNvPr>
          <p:cNvSpPr>
            <a:spLocks noGrp="1"/>
          </p:cNvSpPr>
          <p:nvPr>
            <p:ph type="title"/>
          </p:nvPr>
        </p:nvSpPr>
        <p:spPr/>
        <p:txBody>
          <a:bodyPr/>
          <a:lstStyle/>
          <a:p>
            <a:r>
              <a:rPr lang="en-US" dirty="0"/>
              <a:t>Active Implementation of Respectful Care</a:t>
            </a:r>
          </a:p>
        </p:txBody>
      </p:sp>
      <p:sp>
        <p:nvSpPr>
          <p:cNvPr id="3" name="Content Placeholder 2">
            <a:extLst>
              <a:ext uri="{FF2B5EF4-FFF2-40B4-BE49-F238E27FC236}">
                <a16:creationId xmlns:a16="http://schemas.microsoft.com/office/drawing/2014/main" id="{56C74ECD-91BE-4E02-9046-ED917153ECB9}"/>
              </a:ext>
            </a:extLst>
          </p:cNvPr>
          <p:cNvSpPr>
            <a:spLocks noGrp="1"/>
          </p:cNvSpPr>
          <p:nvPr>
            <p:ph idx="1"/>
          </p:nvPr>
        </p:nvSpPr>
        <p:spPr>
          <a:xfrm>
            <a:off x="609600" y="1542597"/>
            <a:ext cx="10972800" cy="4351338"/>
          </a:xfrm>
        </p:spPr>
        <p:txBody>
          <a:bodyPr/>
          <a:lstStyle/>
          <a:p>
            <a:r>
              <a:rPr lang="en-US" sz="2800" dirty="0"/>
              <a:t>What resources and strategies do we need to put in place to help our doctors and nurses continue to do better?  </a:t>
            </a:r>
          </a:p>
          <a:p>
            <a:r>
              <a:rPr lang="en-US" sz="2800" dirty="0"/>
              <a:t>Work on a strategy to get a Respectful Care Practices Commitment from every clinical team member on your unit</a:t>
            </a:r>
          </a:p>
          <a:p>
            <a:r>
              <a:rPr lang="en-US" sz="2800" dirty="0"/>
              <a:t>Identify resources to show your staff how to be intentional and do better with key practices:  clearly describe key steps for best practices, use cases to demonstrate, review over time, celebrate Respectful Care!</a:t>
            </a:r>
          </a:p>
          <a:p>
            <a:pPr lvl="1"/>
            <a:r>
              <a:rPr lang="en-US" sz="2800" dirty="0"/>
              <a:t>Shared Decision Making</a:t>
            </a:r>
          </a:p>
          <a:p>
            <a:pPr lvl="1"/>
            <a:r>
              <a:rPr lang="en-US" sz="2800" dirty="0"/>
              <a:t>Active Listening</a:t>
            </a:r>
          </a:p>
        </p:txBody>
      </p:sp>
      <p:sp>
        <p:nvSpPr>
          <p:cNvPr id="4" name="Slide Number Placeholder 3">
            <a:extLst>
              <a:ext uri="{FF2B5EF4-FFF2-40B4-BE49-F238E27FC236}">
                <a16:creationId xmlns:a16="http://schemas.microsoft.com/office/drawing/2014/main" id="{64459FE5-9EDD-41CA-B87B-23F92B4A052F}"/>
              </a:ext>
            </a:extLst>
          </p:cNvPr>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a:extLst>
              <a:ext uri="{FF2B5EF4-FFF2-40B4-BE49-F238E27FC236}">
                <a16:creationId xmlns:a16="http://schemas.microsoft.com/office/drawing/2014/main" id="{57DA39BC-BA82-4B67-AAF4-0B8B6A262EFF}"/>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261607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12">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14">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16">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Freeform: Shape 18">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Rectangle 20">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E7BFC7C-B149-4A7C-C03A-B46DF5550103}"/>
              </a:ext>
            </a:extLst>
          </p:cNvPr>
          <p:cNvSpPr>
            <a:spLocks noGrp="1"/>
          </p:cNvSpPr>
          <p:nvPr>
            <p:ph type="title"/>
          </p:nvPr>
        </p:nvSpPr>
        <p:spPr>
          <a:xfrm>
            <a:off x="813853" y="1378369"/>
            <a:ext cx="2971492" cy="3374020"/>
          </a:xfrm>
        </p:spPr>
        <p:txBody>
          <a:bodyPr anchor="b">
            <a:normAutofit/>
          </a:bodyPr>
          <a:lstStyle/>
          <a:p>
            <a:pPr>
              <a:lnSpc>
                <a:spcPct val="90000"/>
              </a:lnSpc>
            </a:pPr>
            <a:br>
              <a:rPr lang="en-US" sz="3100" dirty="0">
                <a:solidFill>
                  <a:srgbClr val="FFFFFF"/>
                </a:solidFill>
                <a:ea typeface="Lato Medium"/>
                <a:cs typeface="Lato Medium"/>
              </a:rPr>
            </a:br>
            <a:r>
              <a:rPr lang="en-US" sz="4400" dirty="0">
                <a:solidFill>
                  <a:srgbClr val="FFFFFF"/>
                </a:solidFill>
                <a:ea typeface="Lato Medium"/>
                <a:cs typeface="Lato Medium"/>
              </a:rPr>
              <a:t>Resources for Active Listening</a:t>
            </a:r>
            <a:endParaRPr lang="en-US" sz="4400" dirty="0">
              <a:solidFill>
                <a:srgbClr val="FFFFFF"/>
              </a:solidFill>
            </a:endParaRPr>
          </a:p>
        </p:txBody>
      </p:sp>
      <p:sp>
        <p:nvSpPr>
          <p:cNvPr id="5" name="Footer Placeholder 4">
            <a:extLst>
              <a:ext uri="{FF2B5EF4-FFF2-40B4-BE49-F238E27FC236}">
                <a16:creationId xmlns:a16="http://schemas.microsoft.com/office/drawing/2014/main" id="{A71268A8-79E4-197F-D542-6C1DCC898FD8}"/>
              </a:ext>
            </a:extLst>
          </p:cNvPr>
          <p:cNvSpPr>
            <a:spLocks noGrp="1"/>
          </p:cNvSpPr>
          <p:nvPr>
            <p:ph type="ftr" sz="quarter" idx="11"/>
          </p:nvPr>
        </p:nvSpPr>
        <p:spPr>
          <a:xfrm rot="5400000">
            <a:off x="-1828800" y="1984248"/>
            <a:ext cx="4114800" cy="36512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F463FF8F-A7BE-88B7-F33E-8D402BC965DD}"/>
              </a:ext>
            </a:extLst>
          </p:cNvPr>
          <p:cNvSpPr>
            <a:spLocks noGrp="1"/>
          </p:cNvSpPr>
          <p:nvPr>
            <p:ph type="sldNum" sz="quarter" idx="10"/>
          </p:nvPr>
        </p:nvSpPr>
        <p:spPr>
          <a:xfrm>
            <a:off x="11704320" y="6455664"/>
            <a:ext cx="448056"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7</a:t>
            </a:fld>
            <a:endPar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endParaRPr>
          </a:p>
        </p:txBody>
      </p:sp>
      <p:graphicFrame>
        <p:nvGraphicFramePr>
          <p:cNvPr id="37" name="Content Placeholder 2">
            <a:extLst>
              <a:ext uri="{FF2B5EF4-FFF2-40B4-BE49-F238E27FC236}">
                <a16:creationId xmlns:a16="http://schemas.microsoft.com/office/drawing/2014/main" id="{2CC371E4-F656-DA0F-E4AE-BE852EC8A042}"/>
              </a:ext>
            </a:extLst>
          </p:cNvPr>
          <p:cNvGraphicFramePr>
            <a:graphicFrameLocks noGrp="1"/>
          </p:cNvGraphicFramePr>
          <p:nvPr>
            <p:ph idx="1"/>
            <p:extLst>
              <p:ext uri="{D42A27DB-BD31-4B8C-83A1-F6EECF244321}">
                <p14:modId xmlns:p14="http://schemas.microsoft.com/office/powerpoint/2010/main" val="1909833112"/>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108825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61293230-B0F6-45B1-96D1-13D18E24299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0A1E0707-4985-454B-ACE0-4855BB55875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653438" cy="6858000"/>
          </a:xfrm>
          <a:custGeom>
            <a:avLst/>
            <a:gdLst>
              <a:gd name="connsiteX0" fmla="*/ 0 w 6096000"/>
              <a:gd name="connsiteY0" fmla="*/ 0 h 6858000"/>
              <a:gd name="connsiteX1" fmla="*/ 5567517 w 6096000"/>
              <a:gd name="connsiteY1" fmla="*/ 0 h 6858000"/>
              <a:gd name="connsiteX2" fmla="*/ 5566938 w 6096000"/>
              <a:gd name="connsiteY2" fmla="*/ 1705 h 6858000"/>
              <a:gd name="connsiteX3" fmla="*/ 5551594 w 6096000"/>
              <a:gd name="connsiteY3" fmla="*/ 17287 h 6858000"/>
              <a:gd name="connsiteX4" fmla="*/ 5545641 w 6096000"/>
              <a:gd name="connsiteY4" fmla="*/ 130336 h 6858000"/>
              <a:gd name="connsiteX5" fmla="*/ 5538289 w 6096000"/>
              <a:gd name="connsiteY5" fmla="*/ 187093 h 6858000"/>
              <a:gd name="connsiteX6" fmla="*/ 5545790 w 6096000"/>
              <a:gd name="connsiteY6" fmla="*/ 265704 h 6858000"/>
              <a:gd name="connsiteX7" fmla="*/ 5542313 w 6096000"/>
              <a:gd name="connsiteY7" fmla="*/ 354566 h 6858000"/>
              <a:gd name="connsiteX8" fmla="*/ 5524126 w 6096000"/>
              <a:gd name="connsiteY8" fmla="*/ 472000 h 6858000"/>
              <a:gd name="connsiteX9" fmla="*/ 5522170 w 6096000"/>
              <a:gd name="connsiteY9" fmla="*/ 473782 h 6858000"/>
              <a:gd name="connsiteX10" fmla="*/ 5521798 w 6096000"/>
              <a:gd name="connsiteY10" fmla="*/ 491380 h 6858000"/>
              <a:gd name="connsiteX11" fmla="*/ 5536419 w 6096000"/>
              <a:gd name="connsiteY11" fmla="*/ 531675 h 6858000"/>
              <a:gd name="connsiteX12" fmla="*/ 5533435 w 6096000"/>
              <a:gd name="connsiteY12" fmla="*/ 536015 h 6858000"/>
              <a:gd name="connsiteX13" fmla="*/ 5538088 w 6096000"/>
              <a:gd name="connsiteY13" fmla="*/ 572092 h 6858000"/>
              <a:gd name="connsiteX14" fmla="*/ 5536061 w 6096000"/>
              <a:gd name="connsiteY14" fmla="*/ 572511 h 6858000"/>
              <a:gd name="connsiteX15" fmla="*/ 5528218 w 6096000"/>
              <a:gd name="connsiteY15" fmla="*/ 582332 h 6858000"/>
              <a:gd name="connsiteX16" fmla="*/ 5518011 w 6096000"/>
              <a:gd name="connsiteY16" fmla="*/ 601285 h 6858000"/>
              <a:gd name="connsiteX17" fmla="*/ 5473174 w 6096000"/>
              <a:gd name="connsiteY17" fmla="*/ 681608 h 6858000"/>
              <a:gd name="connsiteX18" fmla="*/ 5472963 w 6096000"/>
              <a:gd name="connsiteY18" fmla="*/ 689151 h 6858000"/>
              <a:gd name="connsiteX19" fmla="*/ 5472485 w 6096000"/>
              <a:gd name="connsiteY19" fmla="*/ 689289 h 6858000"/>
              <a:gd name="connsiteX20" fmla="*/ 5471326 w 6096000"/>
              <a:gd name="connsiteY20" fmla="*/ 697222 h 6858000"/>
              <a:gd name="connsiteX21" fmla="*/ 5472164 w 6096000"/>
              <a:gd name="connsiteY21" fmla="*/ 717531 h 6858000"/>
              <a:gd name="connsiteX22" fmla="*/ 5468891 w 6096000"/>
              <a:gd name="connsiteY22" fmla="*/ 722494 h 6858000"/>
              <a:gd name="connsiteX23" fmla="*/ 5463081 w 6096000"/>
              <a:gd name="connsiteY23" fmla="*/ 724368 h 6858000"/>
              <a:gd name="connsiteX24" fmla="*/ 5446981 w 6096000"/>
              <a:gd name="connsiteY24" fmla="*/ 752692 h 6858000"/>
              <a:gd name="connsiteX25" fmla="*/ 5417190 w 6096000"/>
              <a:gd name="connsiteY25" fmla="*/ 816346 h 6858000"/>
              <a:gd name="connsiteX26" fmla="*/ 5388958 w 6096000"/>
              <a:gd name="connsiteY26" fmla="*/ 889417 h 6858000"/>
              <a:gd name="connsiteX27" fmla="*/ 5307044 w 6096000"/>
              <a:gd name="connsiteY27" fmla="*/ 1063288 h 6858000"/>
              <a:gd name="connsiteX28" fmla="*/ 5303837 w 6096000"/>
              <a:gd name="connsiteY28" fmla="*/ 1157176 h 6858000"/>
              <a:gd name="connsiteX29" fmla="*/ 5286494 w 6096000"/>
              <a:gd name="connsiteY29" fmla="*/ 1210776 h 6858000"/>
              <a:gd name="connsiteX30" fmla="*/ 5282463 w 6096000"/>
              <a:gd name="connsiteY30" fmla="*/ 1301993 h 6858000"/>
              <a:gd name="connsiteX31" fmla="*/ 5252235 w 6096000"/>
              <a:gd name="connsiteY31" fmla="*/ 1360879 h 6858000"/>
              <a:gd name="connsiteX32" fmla="*/ 5244497 w 6096000"/>
              <a:gd name="connsiteY32" fmla="*/ 1404045 h 6858000"/>
              <a:gd name="connsiteX33" fmla="*/ 5223823 w 6096000"/>
              <a:gd name="connsiteY33" fmla="*/ 1429568 h 6858000"/>
              <a:gd name="connsiteX34" fmla="*/ 5224851 w 6096000"/>
              <a:gd name="connsiteY34" fmla="*/ 1430305 h 6858000"/>
              <a:gd name="connsiteX35" fmla="*/ 5212394 w 6096000"/>
              <a:gd name="connsiteY35" fmla="*/ 1463304 h 6858000"/>
              <a:gd name="connsiteX36" fmla="*/ 5209958 w 6096000"/>
              <a:gd name="connsiteY36" fmla="*/ 1514846 h 6858000"/>
              <a:gd name="connsiteX37" fmla="*/ 5206417 w 6096000"/>
              <a:gd name="connsiteY37" fmla="*/ 1519731 h 6858000"/>
              <a:gd name="connsiteX38" fmla="*/ 5206640 w 6096000"/>
              <a:gd name="connsiteY38" fmla="*/ 1519929 h 6858000"/>
              <a:gd name="connsiteX39" fmla="*/ 5207632 w 6096000"/>
              <a:gd name="connsiteY39" fmla="*/ 1546022 h 6858000"/>
              <a:gd name="connsiteX40" fmla="*/ 5212030 w 6096000"/>
              <a:gd name="connsiteY40" fmla="*/ 1578752 h 6858000"/>
              <a:gd name="connsiteX41" fmla="*/ 5203533 w 6096000"/>
              <a:gd name="connsiteY41" fmla="*/ 1647555 h 6858000"/>
              <a:gd name="connsiteX42" fmla="*/ 5190877 w 6096000"/>
              <a:gd name="connsiteY42" fmla="*/ 1715685 h 6858000"/>
              <a:gd name="connsiteX43" fmla="*/ 5184235 w 6096000"/>
              <a:gd name="connsiteY43" fmla="*/ 1740358 h 6858000"/>
              <a:gd name="connsiteX44" fmla="*/ 5181475 w 6096000"/>
              <a:gd name="connsiteY44" fmla="*/ 1784314 h 6858000"/>
              <a:gd name="connsiteX45" fmla="*/ 5185845 w 6096000"/>
              <a:gd name="connsiteY45" fmla="*/ 1804434 h 6858000"/>
              <a:gd name="connsiteX46" fmla="*/ 5185068 w 6096000"/>
              <a:gd name="connsiteY46" fmla="*/ 1805316 h 6858000"/>
              <a:gd name="connsiteX47" fmla="*/ 5188593 w 6096000"/>
              <a:gd name="connsiteY47" fmla="*/ 1807109 h 6858000"/>
              <a:gd name="connsiteX48" fmla="*/ 5185920 w 6096000"/>
              <a:gd name="connsiteY48" fmla="*/ 1821003 h 6858000"/>
              <a:gd name="connsiteX49" fmla="*/ 5183543 w 6096000"/>
              <a:gd name="connsiteY49" fmla="*/ 1824832 h 6858000"/>
              <a:gd name="connsiteX50" fmla="*/ 5182235 w 6096000"/>
              <a:gd name="connsiteY50" fmla="*/ 1830429 h 6858000"/>
              <a:gd name="connsiteX51" fmla="*/ 5182525 w 6096000"/>
              <a:gd name="connsiteY51" fmla="*/ 1830569 h 6858000"/>
              <a:gd name="connsiteX52" fmla="*/ 5180663 w 6096000"/>
              <a:gd name="connsiteY52" fmla="*/ 1835810 h 6858000"/>
              <a:gd name="connsiteX53" fmla="*/ 5167452 w 6096000"/>
              <a:gd name="connsiteY53" fmla="*/ 1861483 h 6858000"/>
              <a:gd name="connsiteX54" fmla="*/ 5174266 w 6096000"/>
              <a:gd name="connsiteY54" fmla="*/ 1892417 h 6858000"/>
              <a:gd name="connsiteX55" fmla="*/ 5189262 w 6096000"/>
              <a:gd name="connsiteY55" fmla="*/ 1895114 h 6858000"/>
              <a:gd name="connsiteX56" fmla="*/ 5187100 w 6096000"/>
              <a:gd name="connsiteY56" fmla="*/ 1899379 h 6858000"/>
              <a:gd name="connsiteX57" fmla="*/ 5180471 w 6096000"/>
              <a:gd name="connsiteY57" fmla="*/ 1907867 h 6858000"/>
              <a:gd name="connsiteX58" fmla="*/ 5181361 w 6096000"/>
              <a:gd name="connsiteY58" fmla="*/ 1910265 h 6858000"/>
              <a:gd name="connsiteX59" fmla="*/ 5178268 w 6096000"/>
              <a:gd name="connsiteY59" fmla="*/ 1935584 h 6858000"/>
              <a:gd name="connsiteX60" fmla="*/ 5183619 w 6096000"/>
              <a:gd name="connsiteY60" fmla="*/ 1942021 h 6858000"/>
              <a:gd name="connsiteX61" fmla="*/ 5184480 w 6096000"/>
              <a:gd name="connsiteY61" fmla="*/ 1945112 h 6858000"/>
              <a:gd name="connsiteX62" fmla="*/ 5172776 w 6096000"/>
              <a:gd name="connsiteY62" fmla="*/ 1961162 h 6858000"/>
              <a:gd name="connsiteX63" fmla="*/ 5168513 w 6096000"/>
              <a:gd name="connsiteY63" fmla="*/ 1969445 h 6858000"/>
              <a:gd name="connsiteX64" fmla="*/ 5126597 w 6096000"/>
              <a:gd name="connsiteY64" fmla="*/ 2024270 h 6858000"/>
              <a:gd name="connsiteX65" fmla="*/ 5119528 w 6096000"/>
              <a:gd name="connsiteY65" fmla="*/ 2107942 h 6858000"/>
              <a:gd name="connsiteX66" fmla="*/ 5110356 w 6096000"/>
              <a:gd name="connsiteY66" fmla="*/ 2193455 h 6858000"/>
              <a:gd name="connsiteX67" fmla="*/ 5104992 w 6096000"/>
              <a:gd name="connsiteY67" fmla="*/ 2260088 h 6858000"/>
              <a:gd name="connsiteX68" fmla="*/ 5059439 w 6096000"/>
              <a:gd name="connsiteY68" fmla="*/ 2335735 h 6858000"/>
              <a:gd name="connsiteX69" fmla="*/ 5022061 w 6096000"/>
              <a:gd name="connsiteY69" fmla="*/ 2408995 h 6858000"/>
              <a:gd name="connsiteX70" fmla="*/ 5022253 w 6096000"/>
              <a:gd name="connsiteY70" fmla="*/ 2445869 h 6858000"/>
              <a:gd name="connsiteX71" fmla="*/ 5011426 w 6096000"/>
              <a:gd name="connsiteY71" fmla="*/ 2496499 h 6858000"/>
              <a:gd name="connsiteX72" fmla="*/ 4994224 w 6096000"/>
              <a:gd name="connsiteY72" fmla="*/ 2549900 h 6858000"/>
              <a:gd name="connsiteX73" fmla="*/ 4995245 w 6096000"/>
              <a:gd name="connsiteY73" fmla="*/ 2596456 h 6858000"/>
              <a:gd name="connsiteX74" fmla="*/ 4988570 w 6096000"/>
              <a:gd name="connsiteY74" fmla="*/ 2606088 h 6858000"/>
              <a:gd name="connsiteX75" fmla="*/ 4988371 w 6096000"/>
              <a:gd name="connsiteY75" fmla="*/ 2635351 h 6858000"/>
              <a:gd name="connsiteX76" fmla="*/ 4983212 w 6096000"/>
              <a:gd name="connsiteY76" fmla="*/ 2665666 h 6858000"/>
              <a:gd name="connsiteX77" fmla="*/ 4968234 w 6096000"/>
              <a:gd name="connsiteY77" fmla="*/ 2715895 h 6858000"/>
              <a:gd name="connsiteX78" fmla="*/ 4975888 w 6096000"/>
              <a:gd name="connsiteY78" fmla="*/ 2725052 h 6858000"/>
              <a:gd name="connsiteX79" fmla="*/ 4980195 w 6096000"/>
              <a:gd name="connsiteY79" fmla="*/ 2726489 h 6858000"/>
              <a:gd name="connsiteX80" fmla="*/ 4976218 w 6096000"/>
              <a:gd name="connsiteY80" fmla="*/ 2740278 h 6858000"/>
              <a:gd name="connsiteX81" fmla="*/ 4980571 w 6096000"/>
              <a:gd name="connsiteY81" fmla="*/ 2751112 h 6858000"/>
              <a:gd name="connsiteX82" fmla="*/ 4973893 w 6096000"/>
              <a:gd name="connsiteY82" fmla="*/ 2760208 h 6858000"/>
              <a:gd name="connsiteX83" fmla="*/ 4979005 w 6096000"/>
              <a:gd name="connsiteY83" fmla="*/ 2790136 h 6858000"/>
              <a:gd name="connsiteX84" fmla="*/ 4986137 w 6096000"/>
              <a:gd name="connsiteY84" fmla="*/ 2804183 h 6858000"/>
              <a:gd name="connsiteX85" fmla="*/ 4986175 w 6096000"/>
              <a:gd name="connsiteY85" fmla="*/ 2825860 h 6858000"/>
              <a:gd name="connsiteX86" fmla="*/ 4993936 w 6096000"/>
              <a:gd name="connsiteY86" fmla="*/ 2911749 h 6858000"/>
              <a:gd name="connsiteX87" fmla="*/ 4992563 w 6096000"/>
              <a:gd name="connsiteY87" fmla="*/ 2977278 h 6858000"/>
              <a:gd name="connsiteX88" fmla="*/ 4980516 w 6096000"/>
              <a:gd name="connsiteY88" fmla="*/ 2991092 h 6858000"/>
              <a:gd name="connsiteX89" fmla="*/ 4992801 w 6096000"/>
              <a:gd name="connsiteY89" fmla="*/ 3020247 h 6858000"/>
              <a:gd name="connsiteX90" fmla="*/ 5014805 w 6096000"/>
              <a:gd name="connsiteY90" fmla="*/ 3065434 h 6858000"/>
              <a:gd name="connsiteX91" fmla="*/ 5002733 w 6096000"/>
              <a:gd name="connsiteY91" fmla="*/ 3103777 h 6858000"/>
              <a:gd name="connsiteX92" fmla="*/ 5002941 w 6096000"/>
              <a:gd name="connsiteY92" fmla="*/ 3151828 h 6858000"/>
              <a:gd name="connsiteX93" fmla="*/ 5002883 w 6096000"/>
              <a:gd name="connsiteY93" fmla="*/ 3180546 h 6858000"/>
              <a:gd name="connsiteX94" fmla="*/ 5016711 w 6096000"/>
              <a:gd name="connsiteY94" fmla="*/ 3258677 h 6858000"/>
              <a:gd name="connsiteX95" fmla="*/ 5017918 w 6096000"/>
              <a:gd name="connsiteY95" fmla="*/ 3262610 h 6858000"/>
              <a:gd name="connsiteX96" fmla="*/ 5011672 w 6096000"/>
              <a:gd name="connsiteY96" fmla="*/ 3277179 h 6858000"/>
              <a:gd name="connsiteX97" fmla="*/ 5009344 w 6096000"/>
              <a:gd name="connsiteY97" fmla="*/ 3278130 h 6858000"/>
              <a:gd name="connsiteX98" fmla="*/ 5026770 w 6096000"/>
              <a:gd name="connsiteY98" fmla="*/ 3325671 h 6858000"/>
              <a:gd name="connsiteX99" fmla="*/ 5024571 w 6096000"/>
              <a:gd name="connsiteY99" fmla="*/ 3332072 h 6858000"/>
              <a:gd name="connsiteX100" fmla="*/ 5041705 w 6096000"/>
              <a:gd name="connsiteY100" fmla="*/ 3362948 h 6858000"/>
              <a:gd name="connsiteX101" fmla="*/ 5047477 w 6096000"/>
              <a:gd name="connsiteY101" fmla="*/ 3378959 h 6858000"/>
              <a:gd name="connsiteX102" fmla="*/ 5060758 w 6096000"/>
              <a:gd name="connsiteY102" fmla="*/ 3407057 h 6858000"/>
              <a:gd name="connsiteX103" fmla="*/ 5058968 w 6096000"/>
              <a:gd name="connsiteY103" fmla="*/ 3409825 h 6858000"/>
              <a:gd name="connsiteX104" fmla="*/ 5062667 w 6096000"/>
              <a:gd name="connsiteY104" fmla="*/ 3415218 h 6858000"/>
              <a:gd name="connsiteX105" fmla="*/ 5060928 w 6096000"/>
              <a:gd name="connsiteY105" fmla="*/ 3419880 h 6858000"/>
              <a:gd name="connsiteX106" fmla="*/ 5062923 w 6096000"/>
              <a:gd name="connsiteY106" fmla="*/ 3424545 h 6858000"/>
              <a:gd name="connsiteX107" fmla="*/ 5064623 w 6096000"/>
              <a:gd name="connsiteY107" fmla="*/ 3476412 h 6858000"/>
              <a:gd name="connsiteX108" fmla="*/ 5069684 w 6096000"/>
              <a:gd name="connsiteY108" fmla="*/ 3486850 h 6858000"/>
              <a:gd name="connsiteX109" fmla="*/ 5063339 w 6096000"/>
              <a:gd name="connsiteY109" fmla="*/ 3496391 h 6858000"/>
              <a:gd name="connsiteX110" fmla="*/ 5070139 w 6096000"/>
              <a:gd name="connsiteY110" fmla="*/ 3531201 h 6858000"/>
              <a:gd name="connsiteX111" fmla="*/ 5079896 w 6096000"/>
              <a:gd name="connsiteY111" fmla="*/ 3542019 h 6858000"/>
              <a:gd name="connsiteX112" fmla="*/ 5087540 w 6096000"/>
              <a:gd name="connsiteY112" fmla="*/ 3552249 h 6858000"/>
              <a:gd name="connsiteX113" fmla="*/ 5087902 w 6096000"/>
              <a:gd name="connsiteY113" fmla="*/ 3553678 h 6858000"/>
              <a:gd name="connsiteX114" fmla="*/ 5091509 w 6096000"/>
              <a:gd name="connsiteY114" fmla="*/ 3568021 h 6858000"/>
              <a:gd name="connsiteX115" fmla="*/ 5091934 w 6096000"/>
              <a:gd name="connsiteY115" fmla="*/ 3569719 h 6858000"/>
              <a:gd name="connsiteX116" fmla="*/ 5089362 w 6096000"/>
              <a:gd name="connsiteY116" fmla="*/ 3586412 h 6858000"/>
              <a:gd name="connsiteX117" fmla="*/ 5092358 w 6096000"/>
              <a:gd name="connsiteY117" fmla="*/ 3597336 h 6858000"/>
              <a:gd name="connsiteX118" fmla="*/ 5084254 w 6096000"/>
              <a:gd name="connsiteY118" fmla="*/ 3606007 h 6858000"/>
              <a:gd name="connsiteX119" fmla="*/ 5084281 w 6096000"/>
              <a:gd name="connsiteY119" fmla="*/ 3641228 h 6858000"/>
              <a:gd name="connsiteX120" fmla="*/ 5091848 w 6096000"/>
              <a:gd name="connsiteY120" fmla="*/ 3653088 h 6858000"/>
              <a:gd name="connsiteX121" fmla="*/ 5097436 w 6096000"/>
              <a:gd name="connsiteY121" fmla="*/ 3664114 h 6858000"/>
              <a:gd name="connsiteX122" fmla="*/ 5097518 w 6096000"/>
              <a:gd name="connsiteY122" fmla="*/ 3665569 h 6858000"/>
              <a:gd name="connsiteX123" fmla="*/ 5099829 w 6096000"/>
              <a:gd name="connsiteY123" fmla="*/ 3707357 h 6858000"/>
              <a:gd name="connsiteX124" fmla="*/ 5114696 w 6096000"/>
              <a:gd name="connsiteY124" fmla="*/ 3778166 h 6858000"/>
              <a:gd name="connsiteX125" fmla="*/ 5135379 w 6096000"/>
              <a:gd name="connsiteY125" fmla="*/ 3878222 h 6858000"/>
              <a:gd name="connsiteX126" fmla="*/ 5130138 w 6096000"/>
              <a:gd name="connsiteY126" fmla="*/ 4048117 h 6858000"/>
              <a:gd name="connsiteX127" fmla="*/ 5090040 w 6096000"/>
              <a:gd name="connsiteY127" fmla="*/ 4219510 h 6858000"/>
              <a:gd name="connsiteX128" fmla="*/ 5092812 w 6096000"/>
              <a:gd name="connsiteY128" fmla="*/ 4411258 h 6858000"/>
              <a:gd name="connsiteX129" fmla="*/ 5084599 w 6096000"/>
              <a:gd name="connsiteY129" fmla="*/ 4488531 h 6858000"/>
              <a:gd name="connsiteX130" fmla="*/ 5084072 w 6096000"/>
              <a:gd name="connsiteY130" fmla="*/ 4539168 h 6858000"/>
              <a:gd name="connsiteX131" fmla="*/ 5068936 w 6096000"/>
              <a:gd name="connsiteY131" fmla="*/ 4625153 h 6858000"/>
              <a:gd name="connsiteX132" fmla="*/ 5059114 w 6096000"/>
              <a:gd name="connsiteY132" fmla="*/ 4733115 h 6858000"/>
              <a:gd name="connsiteX133" fmla="*/ 5037209 w 6096000"/>
              <a:gd name="connsiteY133" fmla="*/ 4844323 h 6858000"/>
              <a:gd name="connsiteX134" fmla="*/ 5020638 w 6096000"/>
              <a:gd name="connsiteY134" fmla="*/ 4877992 h 6858000"/>
              <a:gd name="connsiteX135" fmla="*/ 5006413 w 6096000"/>
              <a:gd name="connsiteY135" fmla="*/ 4925805 h 6858000"/>
              <a:gd name="connsiteX136" fmla="*/ 4971037 w 6096000"/>
              <a:gd name="connsiteY136" fmla="*/ 5009272 h 6858000"/>
              <a:gd name="connsiteX137" fmla="*/ 4963105 w 6096000"/>
              <a:gd name="connsiteY137" fmla="*/ 5111369 h 6858000"/>
              <a:gd name="connsiteX138" fmla="*/ 4976341 w 6096000"/>
              <a:gd name="connsiteY138" fmla="*/ 5210876 h 6858000"/>
              <a:gd name="connsiteX139" fmla="*/ 4980617 w 6096000"/>
              <a:gd name="connsiteY139" fmla="*/ 5269726 h 6858000"/>
              <a:gd name="connsiteX140" fmla="*/ 4997733 w 6096000"/>
              <a:gd name="connsiteY140" fmla="*/ 5464225 h 6858000"/>
              <a:gd name="connsiteX141" fmla="*/ 5001400 w 6096000"/>
              <a:gd name="connsiteY141" fmla="*/ 5594585 h 6858000"/>
              <a:gd name="connsiteX142" fmla="*/ 4983700 w 6096000"/>
              <a:gd name="connsiteY142" fmla="*/ 5667896 h 6858000"/>
              <a:gd name="connsiteX143" fmla="*/ 4968506 w 6096000"/>
              <a:gd name="connsiteY143" fmla="*/ 5769225 h 6858000"/>
              <a:gd name="connsiteX144" fmla="*/ 4969765 w 6096000"/>
              <a:gd name="connsiteY144" fmla="*/ 5823324 h 6858000"/>
              <a:gd name="connsiteX145" fmla="*/ 4966129 w 6096000"/>
              <a:gd name="connsiteY145" fmla="*/ 5862699 h 6858000"/>
              <a:gd name="connsiteX146" fmla="*/ 4970695 w 6096000"/>
              <a:gd name="connsiteY146" fmla="*/ 5906467 h 6858000"/>
              <a:gd name="connsiteX147" fmla="*/ 4991568 w 6096000"/>
              <a:gd name="connsiteY147" fmla="*/ 5939847 h 6858000"/>
              <a:gd name="connsiteX148" fmla="*/ 4986815 w 6096000"/>
              <a:gd name="connsiteY148" fmla="*/ 5973994 h 6858000"/>
              <a:gd name="connsiteX149" fmla="*/ 4987776 w 6096000"/>
              <a:gd name="connsiteY149" fmla="*/ 6089693 h 6858000"/>
              <a:gd name="connsiteX150" fmla="*/ 4991621 w 6096000"/>
              <a:gd name="connsiteY150" fmla="*/ 6224938 h 6858000"/>
              <a:gd name="connsiteX151" fmla="*/ 5017157 w 6096000"/>
              <a:gd name="connsiteY151" fmla="*/ 6370251 h 6858000"/>
              <a:gd name="connsiteX152" fmla="*/ 5040797 w 6096000"/>
              <a:gd name="connsiteY152" fmla="*/ 6541313 h 6858000"/>
              <a:gd name="connsiteX153" fmla="*/ 5045375 w 6096000"/>
              <a:gd name="connsiteY153" fmla="*/ 6640957 h 6858000"/>
              <a:gd name="connsiteX154" fmla="*/ 5058442 w 6096000"/>
              <a:gd name="connsiteY154" fmla="*/ 6705297 h 6858000"/>
              <a:gd name="connsiteX155" fmla="*/ 5071125 w 6096000"/>
              <a:gd name="connsiteY155" fmla="*/ 6759582 h 6858000"/>
              <a:gd name="connsiteX156" fmla="*/ 5069172 w 6096000"/>
              <a:gd name="connsiteY156" fmla="*/ 6817746 h 6858000"/>
              <a:gd name="connsiteX157" fmla="*/ 5072322 w 6096000"/>
              <a:gd name="connsiteY157" fmla="*/ 6843646 h 6858000"/>
              <a:gd name="connsiteX158" fmla="*/ 5091388 w 6096000"/>
              <a:gd name="connsiteY158" fmla="*/ 6857998 h 6858000"/>
              <a:gd name="connsiteX159" fmla="*/ 6096000 w 6096000"/>
              <a:gd name="connsiteY159" fmla="*/ 6857998 h 6858000"/>
              <a:gd name="connsiteX160" fmla="*/ 6096000 w 6096000"/>
              <a:gd name="connsiteY160" fmla="*/ 6858000 h 6858000"/>
              <a:gd name="connsiteX161" fmla="*/ 0 w 6096000"/>
              <a:gd name="connsiteY16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096000" h="6858000">
                <a:moveTo>
                  <a:pt x="0" y="0"/>
                </a:moveTo>
                <a:lnTo>
                  <a:pt x="5567517" y="0"/>
                </a:lnTo>
                <a:lnTo>
                  <a:pt x="5566938" y="1705"/>
                </a:lnTo>
                <a:cubicBezTo>
                  <a:pt x="5563126" y="8440"/>
                  <a:pt x="5558112" y="13784"/>
                  <a:pt x="5551594" y="17287"/>
                </a:cubicBezTo>
                <a:cubicBezTo>
                  <a:pt x="5562364" y="82036"/>
                  <a:pt x="5510349" y="69804"/>
                  <a:pt x="5545641" y="130336"/>
                </a:cubicBezTo>
                <a:cubicBezTo>
                  <a:pt x="5526953" y="117589"/>
                  <a:pt x="5536978" y="162458"/>
                  <a:pt x="5538289" y="187093"/>
                </a:cubicBezTo>
                <a:cubicBezTo>
                  <a:pt x="5536205" y="226511"/>
                  <a:pt x="5545722" y="205530"/>
                  <a:pt x="5545790" y="265704"/>
                </a:cubicBezTo>
                <a:cubicBezTo>
                  <a:pt x="5542296" y="317533"/>
                  <a:pt x="5543813" y="325288"/>
                  <a:pt x="5542313" y="354566"/>
                </a:cubicBezTo>
                <a:lnTo>
                  <a:pt x="5524126" y="472000"/>
                </a:lnTo>
                <a:lnTo>
                  <a:pt x="5522170" y="473782"/>
                </a:lnTo>
                <a:cubicBezTo>
                  <a:pt x="5517847" y="482008"/>
                  <a:pt x="5518682" y="487340"/>
                  <a:pt x="5521798" y="491380"/>
                </a:cubicBezTo>
                <a:lnTo>
                  <a:pt x="5536419" y="531675"/>
                </a:lnTo>
                <a:lnTo>
                  <a:pt x="5533435" y="536015"/>
                </a:lnTo>
                <a:lnTo>
                  <a:pt x="5538088" y="572092"/>
                </a:lnTo>
                <a:lnTo>
                  <a:pt x="5536061" y="572511"/>
                </a:lnTo>
                <a:cubicBezTo>
                  <a:pt x="5531611" y="574271"/>
                  <a:pt x="5528529" y="577121"/>
                  <a:pt x="5528218" y="582332"/>
                </a:cubicBezTo>
                <a:cubicBezTo>
                  <a:pt x="5498002" y="573171"/>
                  <a:pt x="5516262" y="585107"/>
                  <a:pt x="5518011" y="601285"/>
                </a:cubicBezTo>
                <a:cubicBezTo>
                  <a:pt x="5508838" y="617831"/>
                  <a:pt x="5480684" y="666964"/>
                  <a:pt x="5473174" y="681608"/>
                </a:cubicBezTo>
                <a:cubicBezTo>
                  <a:pt x="5473102" y="684122"/>
                  <a:pt x="5473033" y="686637"/>
                  <a:pt x="5472963" y="689151"/>
                </a:cubicBezTo>
                <a:lnTo>
                  <a:pt x="5472485" y="689289"/>
                </a:lnTo>
                <a:cubicBezTo>
                  <a:pt x="5471434" y="690905"/>
                  <a:pt x="5470986" y="693376"/>
                  <a:pt x="5471326" y="697222"/>
                </a:cubicBezTo>
                <a:cubicBezTo>
                  <a:pt x="5471606" y="703992"/>
                  <a:pt x="5471884" y="710761"/>
                  <a:pt x="5472164" y="717531"/>
                </a:cubicBezTo>
                <a:lnTo>
                  <a:pt x="5468891" y="722494"/>
                </a:lnTo>
                <a:lnTo>
                  <a:pt x="5463081" y="724368"/>
                </a:lnTo>
                <a:lnTo>
                  <a:pt x="5446981" y="752692"/>
                </a:lnTo>
                <a:cubicBezTo>
                  <a:pt x="5454691" y="764380"/>
                  <a:pt x="5422719" y="808083"/>
                  <a:pt x="5417190" y="816346"/>
                </a:cubicBezTo>
                <a:lnTo>
                  <a:pt x="5388958" y="889417"/>
                </a:lnTo>
                <a:cubicBezTo>
                  <a:pt x="5320491" y="969963"/>
                  <a:pt x="5321907" y="1005331"/>
                  <a:pt x="5307044" y="1063288"/>
                </a:cubicBezTo>
                <a:cubicBezTo>
                  <a:pt x="5313332" y="1111028"/>
                  <a:pt x="5317096" y="1110140"/>
                  <a:pt x="5303837" y="1157176"/>
                </a:cubicBezTo>
                <a:cubicBezTo>
                  <a:pt x="5301103" y="1192124"/>
                  <a:pt x="5301884" y="1197232"/>
                  <a:pt x="5286494" y="1210776"/>
                </a:cubicBezTo>
                <a:lnTo>
                  <a:pt x="5282463" y="1301993"/>
                </a:lnTo>
                <a:lnTo>
                  <a:pt x="5252235" y="1360879"/>
                </a:lnTo>
                <a:lnTo>
                  <a:pt x="5244497" y="1404045"/>
                </a:lnTo>
                <a:lnTo>
                  <a:pt x="5223823" y="1429568"/>
                </a:lnTo>
                <a:lnTo>
                  <a:pt x="5224851" y="1430305"/>
                </a:lnTo>
                <a:cubicBezTo>
                  <a:pt x="5226697" y="1432466"/>
                  <a:pt x="5214738" y="1459891"/>
                  <a:pt x="5212394" y="1463304"/>
                </a:cubicBezTo>
                <a:cubicBezTo>
                  <a:pt x="5209912" y="1477394"/>
                  <a:pt x="5213027" y="1501295"/>
                  <a:pt x="5209958" y="1514846"/>
                </a:cubicBezTo>
                <a:lnTo>
                  <a:pt x="5206417" y="1519731"/>
                </a:lnTo>
                <a:lnTo>
                  <a:pt x="5206640" y="1519929"/>
                </a:lnTo>
                <a:cubicBezTo>
                  <a:pt x="5206490" y="1521210"/>
                  <a:pt x="5209710" y="1543635"/>
                  <a:pt x="5207632" y="1546022"/>
                </a:cubicBezTo>
                <a:lnTo>
                  <a:pt x="5212030" y="1578752"/>
                </a:lnTo>
                <a:cubicBezTo>
                  <a:pt x="5206147" y="1605585"/>
                  <a:pt x="5226381" y="1622803"/>
                  <a:pt x="5203533" y="1647555"/>
                </a:cubicBezTo>
                <a:cubicBezTo>
                  <a:pt x="5198128" y="1672675"/>
                  <a:pt x="5203213" y="1694404"/>
                  <a:pt x="5190877" y="1715685"/>
                </a:cubicBezTo>
                <a:cubicBezTo>
                  <a:pt x="5196815" y="1724301"/>
                  <a:pt x="5198098" y="1732435"/>
                  <a:pt x="5184235" y="1740358"/>
                </a:cubicBezTo>
                <a:cubicBezTo>
                  <a:pt x="5182625" y="1763793"/>
                  <a:pt x="5198368" y="1769422"/>
                  <a:pt x="5181475" y="1784314"/>
                </a:cubicBezTo>
                <a:cubicBezTo>
                  <a:pt x="5205987" y="1797417"/>
                  <a:pt x="5195246" y="1798221"/>
                  <a:pt x="5185845" y="1804434"/>
                </a:cubicBezTo>
                <a:lnTo>
                  <a:pt x="5185068" y="1805316"/>
                </a:lnTo>
                <a:lnTo>
                  <a:pt x="5188593" y="1807109"/>
                </a:lnTo>
                <a:lnTo>
                  <a:pt x="5185920" y="1821003"/>
                </a:lnTo>
                <a:lnTo>
                  <a:pt x="5183543" y="1824832"/>
                </a:lnTo>
                <a:cubicBezTo>
                  <a:pt x="5182284" y="1827468"/>
                  <a:pt x="5181937" y="1829219"/>
                  <a:pt x="5182235" y="1830429"/>
                </a:cubicBezTo>
                <a:lnTo>
                  <a:pt x="5182525" y="1830569"/>
                </a:lnTo>
                <a:lnTo>
                  <a:pt x="5180663" y="1835810"/>
                </a:lnTo>
                <a:cubicBezTo>
                  <a:pt x="5176779" y="1844665"/>
                  <a:pt x="5172297" y="1853278"/>
                  <a:pt x="5167452" y="1861483"/>
                </a:cubicBezTo>
                <a:cubicBezTo>
                  <a:pt x="5179827" y="1866643"/>
                  <a:pt x="5166788" y="1884999"/>
                  <a:pt x="5174266" y="1892417"/>
                </a:cubicBezTo>
                <a:lnTo>
                  <a:pt x="5189262" y="1895114"/>
                </a:lnTo>
                <a:lnTo>
                  <a:pt x="5187100" y="1899379"/>
                </a:lnTo>
                <a:lnTo>
                  <a:pt x="5180471" y="1907867"/>
                </a:lnTo>
                <a:cubicBezTo>
                  <a:pt x="5179609" y="1909162"/>
                  <a:pt x="5179647" y="1909994"/>
                  <a:pt x="5181361" y="1910265"/>
                </a:cubicBezTo>
                <a:cubicBezTo>
                  <a:pt x="5180995" y="1914884"/>
                  <a:pt x="5177893" y="1930292"/>
                  <a:pt x="5178268" y="1935584"/>
                </a:cubicBezTo>
                <a:lnTo>
                  <a:pt x="5183619" y="1942021"/>
                </a:lnTo>
                <a:lnTo>
                  <a:pt x="5184480" y="1945112"/>
                </a:lnTo>
                <a:lnTo>
                  <a:pt x="5172776" y="1961162"/>
                </a:lnTo>
                <a:lnTo>
                  <a:pt x="5168513" y="1969445"/>
                </a:lnTo>
                <a:lnTo>
                  <a:pt x="5126597" y="2024270"/>
                </a:lnTo>
                <a:lnTo>
                  <a:pt x="5119528" y="2107942"/>
                </a:lnTo>
                <a:cubicBezTo>
                  <a:pt x="5089290" y="2138038"/>
                  <a:pt x="5110415" y="2159228"/>
                  <a:pt x="5110356" y="2193455"/>
                </a:cubicBezTo>
                <a:cubicBezTo>
                  <a:pt x="5101302" y="2220953"/>
                  <a:pt x="5110381" y="2224200"/>
                  <a:pt x="5104992" y="2260088"/>
                </a:cubicBezTo>
                <a:cubicBezTo>
                  <a:pt x="5096504" y="2291744"/>
                  <a:pt x="5078225" y="2299003"/>
                  <a:pt x="5059439" y="2335735"/>
                </a:cubicBezTo>
                <a:cubicBezTo>
                  <a:pt x="5029465" y="2329020"/>
                  <a:pt x="5058046" y="2407546"/>
                  <a:pt x="5022061" y="2408995"/>
                </a:cubicBezTo>
                <a:cubicBezTo>
                  <a:pt x="5023289" y="2413465"/>
                  <a:pt x="5019654" y="2441580"/>
                  <a:pt x="5022253" y="2445869"/>
                </a:cubicBezTo>
                <a:cubicBezTo>
                  <a:pt x="5022440" y="2449625"/>
                  <a:pt x="5011241" y="2492743"/>
                  <a:pt x="5011426" y="2496499"/>
                </a:cubicBezTo>
                <a:lnTo>
                  <a:pt x="4994224" y="2549900"/>
                </a:lnTo>
                <a:cubicBezTo>
                  <a:pt x="4992353" y="2564757"/>
                  <a:pt x="4998952" y="2582253"/>
                  <a:pt x="4995245" y="2596456"/>
                </a:cubicBezTo>
                <a:lnTo>
                  <a:pt x="4988570" y="2606088"/>
                </a:lnTo>
                <a:cubicBezTo>
                  <a:pt x="4988504" y="2615842"/>
                  <a:pt x="4988436" y="2625597"/>
                  <a:pt x="4988371" y="2635351"/>
                </a:cubicBezTo>
                <a:lnTo>
                  <a:pt x="4983212" y="2665666"/>
                </a:lnTo>
                <a:lnTo>
                  <a:pt x="4968234" y="2715895"/>
                </a:lnTo>
                <a:lnTo>
                  <a:pt x="4975888" y="2725052"/>
                </a:lnTo>
                <a:lnTo>
                  <a:pt x="4980195" y="2726489"/>
                </a:lnTo>
                <a:lnTo>
                  <a:pt x="4976218" y="2740278"/>
                </a:lnTo>
                <a:lnTo>
                  <a:pt x="4980571" y="2751112"/>
                </a:lnTo>
                <a:lnTo>
                  <a:pt x="4973893" y="2760208"/>
                </a:lnTo>
                <a:lnTo>
                  <a:pt x="4979005" y="2790136"/>
                </a:lnTo>
                <a:lnTo>
                  <a:pt x="4986137" y="2804183"/>
                </a:lnTo>
                <a:cubicBezTo>
                  <a:pt x="4986150" y="2811409"/>
                  <a:pt x="4986162" y="2818634"/>
                  <a:pt x="4986175" y="2825860"/>
                </a:cubicBezTo>
                <a:cubicBezTo>
                  <a:pt x="4987474" y="2843788"/>
                  <a:pt x="4992871" y="2886513"/>
                  <a:pt x="4993936" y="2911749"/>
                </a:cubicBezTo>
                <a:cubicBezTo>
                  <a:pt x="4993313" y="2946689"/>
                  <a:pt x="4980300" y="2954448"/>
                  <a:pt x="4992563" y="2977278"/>
                </a:cubicBezTo>
                <a:cubicBezTo>
                  <a:pt x="4985688" y="2983455"/>
                  <a:pt x="4982051" y="2987749"/>
                  <a:pt x="4980516" y="2991092"/>
                </a:cubicBezTo>
                <a:cubicBezTo>
                  <a:pt x="4975910" y="3001119"/>
                  <a:pt x="4990216" y="3002537"/>
                  <a:pt x="4992801" y="3020247"/>
                </a:cubicBezTo>
                <a:cubicBezTo>
                  <a:pt x="4998517" y="3032637"/>
                  <a:pt x="5013148" y="3051512"/>
                  <a:pt x="5014805" y="3065434"/>
                </a:cubicBezTo>
                <a:cubicBezTo>
                  <a:pt x="4998836" y="3057428"/>
                  <a:pt x="5016840" y="3105196"/>
                  <a:pt x="5002733" y="3103777"/>
                </a:cubicBezTo>
                <a:cubicBezTo>
                  <a:pt x="5022381" y="3124610"/>
                  <a:pt x="4997365" y="3128169"/>
                  <a:pt x="5002941" y="3151828"/>
                </a:cubicBezTo>
                <a:cubicBezTo>
                  <a:pt x="5010264" y="3163902"/>
                  <a:pt x="5011356" y="3171780"/>
                  <a:pt x="5002883" y="3180546"/>
                </a:cubicBezTo>
                <a:cubicBezTo>
                  <a:pt x="5038586" y="3236545"/>
                  <a:pt x="5003723" y="3210316"/>
                  <a:pt x="5016711" y="3258677"/>
                </a:cubicBezTo>
                <a:lnTo>
                  <a:pt x="5017918" y="3262610"/>
                </a:lnTo>
                <a:lnTo>
                  <a:pt x="5011672" y="3277179"/>
                </a:lnTo>
                <a:lnTo>
                  <a:pt x="5009344" y="3278130"/>
                </a:lnTo>
                <a:lnTo>
                  <a:pt x="5026770" y="3325671"/>
                </a:lnTo>
                <a:lnTo>
                  <a:pt x="5024571" y="3332072"/>
                </a:lnTo>
                <a:lnTo>
                  <a:pt x="5041705" y="3362948"/>
                </a:lnTo>
                <a:lnTo>
                  <a:pt x="5047477" y="3378959"/>
                </a:lnTo>
                <a:lnTo>
                  <a:pt x="5060758" y="3407057"/>
                </a:lnTo>
                <a:lnTo>
                  <a:pt x="5058968" y="3409825"/>
                </a:lnTo>
                <a:lnTo>
                  <a:pt x="5062667" y="3415218"/>
                </a:lnTo>
                <a:lnTo>
                  <a:pt x="5060928" y="3419880"/>
                </a:lnTo>
                <a:lnTo>
                  <a:pt x="5062923" y="3424545"/>
                </a:lnTo>
                <a:cubicBezTo>
                  <a:pt x="5063537" y="3433967"/>
                  <a:pt x="5063494" y="3466028"/>
                  <a:pt x="5064623" y="3476412"/>
                </a:cubicBezTo>
                <a:lnTo>
                  <a:pt x="5069684" y="3486850"/>
                </a:lnTo>
                <a:lnTo>
                  <a:pt x="5063339" y="3496391"/>
                </a:lnTo>
                <a:lnTo>
                  <a:pt x="5070139" y="3531201"/>
                </a:lnTo>
                <a:lnTo>
                  <a:pt x="5079896" y="3542019"/>
                </a:lnTo>
                <a:lnTo>
                  <a:pt x="5087540" y="3552249"/>
                </a:lnTo>
                <a:lnTo>
                  <a:pt x="5087902" y="3553678"/>
                </a:lnTo>
                <a:lnTo>
                  <a:pt x="5091509" y="3568021"/>
                </a:lnTo>
                <a:lnTo>
                  <a:pt x="5091934" y="3569719"/>
                </a:lnTo>
                <a:lnTo>
                  <a:pt x="5089362" y="3586412"/>
                </a:lnTo>
                <a:lnTo>
                  <a:pt x="5092358" y="3597336"/>
                </a:lnTo>
                <a:lnTo>
                  <a:pt x="5084254" y="3606007"/>
                </a:lnTo>
                <a:cubicBezTo>
                  <a:pt x="5084262" y="3617747"/>
                  <a:pt x="5084273" y="3629488"/>
                  <a:pt x="5084281" y="3641228"/>
                </a:cubicBezTo>
                <a:lnTo>
                  <a:pt x="5091848" y="3653088"/>
                </a:lnTo>
                <a:lnTo>
                  <a:pt x="5097436" y="3664114"/>
                </a:lnTo>
                <a:cubicBezTo>
                  <a:pt x="5097463" y="3664599"/>
                  <a:pt x="5097491" y="3665084"/>
                  <a:pt x="5097518" y="3665569"/>
                </a:cubicBezTo>
                <a:cubicBezTo>
                  <a:pt x="5097915" y="3672776"/>
                  <a:pt x="5096966" y="3688591"/>
                  <a:pt x="5099829" y="3707357"/>
                </a:cubicBezTo>
                <a:cubicBezTo>
                  <a:pt x="5100505" y="3724716"/>
                  <a:pt x="5118078" y="3760234"/>
                  <a:pt x="5114696" y="3778166"/>
                </a:cubicBezTo>
                <a:cubicBezTo>
                  <a:pt x="5141627" y="3845122"/>
                  <a:pt x="5125427" y="3821305"/>
                  <a:pt x="5135379" y="3878222"/>
                </a:cubicBezTo>
                <a:cubicBezTo>
                  <a:pt x="5161519" y="3905047"/>
                  <a:pt x="5125417" y="4015047"/>
                  <a:pt x="5130138" y="4048117"/>
                </a:cubicBezTo>
                <a:cubicBezTo>
                  <a:pt x="5081804" y="4192084"/>
                  <a:pt x="5096262" y="4158987"/>
                  <a:pt x="5090040" y="4219510"/>
                </a:cubicBezTo>
                <a:cubicBezTo>
                  <a:pt x="5104553" y="4280033"/>
                  <a:pt x="5065380" y="4345686"/>
                  <a:pt x="5092812" y="4411258"/>
                </a:cubicBezTo>
                <a:cubicBezTo>
                  <a:pt x="5090630" y="4437329"/>
                  <a:pt x="5083878" y="4473140"/>
                  <a:pt x="5084599" y="4488531"/>
                </a:cubicBezTo>
                <a:cubicBezTo>
                  <a:pt x="5084423" y="4505410"/>
                  <a:pt x="5084248" y="4522289"/>
                  <a:pt x="5084072" y="4539168"/>
                </a:cubicBezTo>
                <a:cubicBezTo>
                  <a:pt x="5072114" y="4567830"/>
                  <a:pt x="5064305" y="4588197"/>
                  <a:pt x="5068936" y="4625153"/>
                </a:cubicBezTo>
                <a:cubicBezTo>
                  <a:pt x="5077433" y="4662889"/>
                  <a:pt x="5065899" y="4679357"/>
                  <a:pt x="5059114" y="4733115"/>
                </a:cubicBezTo>
                <a:cubicBezTo>
                  <a:pt x="5068687" y="4752352"/>
                  <a:pt x="5055370" y="4832308"/>
                  <a:pt x="5037209" y="4844323"/>
                </a:cubicBezTo>
                <a:cubicBezTo>
                  <a:pt x="5033444" y="4857054"/>
                  <a:pt x="5040194" y="4871554"/>
                  <a:pt x="5020638" y="4877992"/>
                </a:cubicBezTo>
                <a:cubicBezTo>
                  <a:pt x="4997151" y="4888353"/>
                  <a:pt x="5034418" y="4931200"/>
                  <a:pt x="5006413" y="4925805"/>
                </a:cubicBezTo>
                <a:cubicBezTo>
                  <a:pt x="5031964" y="4956261"/>
                  <a:pt x="4982840" y="4982633"/>
                  <a:pt x="4971037" y="5009272"/>
                </a:cubicBezTo>
                <a:cubicBezTo>
                  <a:pt x="4973259" y="5034036"/>
                  <a:pt x="4968375" y="5053859"/>
                  <a:pt x="4963105" y="5111369"/>
                </a:cubicBezTo>
                <a:cubicBezTo>
                  <a:pt x="4973224" y="5141336"/>
                  <a:pt x="4937413" y="5161742"/>
                  <a:pt x="4976341" y="5210876"/>
                </a:cubicBezTo>
                <a:cubicBezTo>
                  <a:pt x="4972455" y="5212581"/>
                  <a:pt x="4977054" y="5227501"/>
                  <a:pt x="4980617" y="5269726"/>
                </a:cubicBezTo>
                <a:cubicBezTo>
                  <a:pt x="4984182" y="5311951"/>
                  <a:pt x="4990390" y="5400671"/>
                  <a:pt x="4997733" y="5464225"/>
                </a:cubicBezTo>
                <a:cubicBezTo>
                  <a:pt x="5001765" y="5536542"/>
                  <a:pt x="4990225" y="5517959"/>
                  <a:pt x="5001400" y="5594585"/>
                </a:cubicBezTo>
                <a:cubicBezTo>
                  <a:pt x="4999908" y="5619318"/>
                  <a:pt x="4974042" y="5647975"/>
                  <a:pt x="4983700" y="5667896"/>
                </a:cubicBezTo>
                <a:cubicBezTo>
                  <a:pt x="4976834" y="5696311"/>
                  <a:pt x="4975579" y="5738356"/>
                  <a:pt x="4968506" y="5769225"/>
                </a:cubicBezTo>
                <a:cubicBezTo>
                  <a:pt x="4968926" y="5787258"/>
                  <a:pt x="4969344" y="5805291"/>
                  <a:pt x="4969765" y="5823324"/>
                </a:cubicBezTo>
                <a:cubicBezTo>
                  <a:pt x="4966122" y="5853058"/>
                  <a:pt x="4965608" y="5838948"/>
                  <a:pt x="4966129" y="5862699"/>
                </a:cubicBezTo>
                <a:lnTo>
                  <a:pt x="4970695" y="5906467"/>
                </a:lnTo>
                <a:lnTo>
                  <a:pt x="4991568" y="5939847"/>
                </a:lnTo>
                <a:cubicBezTo>
                  <a:pt x="4998848" y="5955713"/>
                  <a:pt x="4974731" y="5940131"/>
                  <a:pt x="4986815" y="5973994"/>
                </a:cubicBezTo>
                <a:cubicBezTo>
                  <a:pt x="4961187" y="5997051"/>
                  <a:pt x="4983444" y="6032039"/>
                  <a:pt x="4987776" y="6089693"/>
                </a:cubicBezTo>
                <a:lnTo>
                  <a:pt x="4991621" y="6224938"/>
                </a:lnTo>
                <a:cubicBezTo>
                  <a:pt x="4988442" y="6270972"/>
                  <a:pt x="5008962" y="6317522"/>
                  <a:pt x="5017157" y="6370251"/>
                </a:cubicBezTo>
                <a:cubicBezTo>
                  <a:pt x="5025353" y="6422980"/>
                  <a:pt x="5039938" y="6490855"/>
                  <a:pt x="5040797" y="6541313"/>
                </a:cubicBezTo>
                <a:cubicBezTo>
                  <a:pt x="5039898" y="6576319"/>
                  <a:pt x="5031912" y="6591883"/>
                  <a:pt x="5045375" y="6640957"/>
                </a:cubicBezTo>
                <a:cubicBezTo>
                  <a:pt x="5057505" y="6669536"/>
                  <a:pt x="5052276" y="6675394"/>
                  <a:pt x="5058442" y="6705297"/>
                </a:cubicBezTo>
                <a:cubicBezTo>
                  <a:pt x="5057367" y="6727133"/>
                  <a:pt x="5067901" y="6732087"/>
                  <a:pt x="5071125" y="6759582"/>
                </a:cubicBezTo>
                <a:cubicBezTo>
                  <a:pt x="5055614" y="6796071"/>
                  <a:pt x="5051656" y="6769544"/>
                  <a:pt x="5069172" y="6817746"/>
                </a:cubicBezTo>
                <a:cubicBezTo>
                  <a:pt x="5060956" y="6828354"/>
                  <a:pt x="5064525" y="6836369"/>
                  <a:pt x="5072322" y="6843646"/>
                </a:cubicBezTo>
                <a:lnTo>
                  <a:pt x="5091388" y="6857998"/>
                </a:lnTo>
                <a:lnTo>
                  <a:pt x="6096000" y="6857998"/>
                </a:lnTo>
                <a:lnTo>
                  <a:pt x="6096000" y="6858000"/>
                </a:lnTo>
                <a:lnTo>
                  <a:pt x="0" y="6858000"/>
                </a:lnTo>
                <a:close/>
              </a:path>
            </a:pathLst>
          </a:cu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6B59FE7-927F-A61A-7DBE-9697FD663F7A}"/>
              </a:ext>
            </a:extLst>
          </p:cNvPr>
          <p:cNvSpPr>
            <a:spLocks noGrp="1"/>
          </p:cNvSpPr>
          <p:nvPr>
            <p:ph type="title"/>
          </p:nvPr>
        </p:nvSpPr>
        <p:spPr>
          <a:xfrm>
            <a:off x="733427" y="609599"/>
            <a:ext cx="3686174" cy="1322888"/>
          </a:xfrm>
        </p:spPr>
        <p:txBody>
          <a:bodyPr>
            <a:normAutofit fontScale="90000"/>
          </a:bodyPr>
          <a:lstStyle/>
          <a:p>
            <a:r>
              <a:rPr lang="en-US">
                <a:ea typeface="Lato Medium"/>
                <a:cs typeface="Lato Medium"/>
              </a:rPr>
              <a:t>AWHONN SBAR for Equitable Patient Care Resource</a:t>
            </a:r>
          </a:p>
        </p:txBody>
      </p:sp>
      <p:sp>
        <p:nvSpPr>
          <p:cNvPr id="3" name="Content Placeholder 2">
            <a:extLst>
              <a:ext uri="{FF2B5EF4-FFF2-40B4-BE49-F238E27FC236}">
                <a16:creationId xmlns:a16="http://schemas.microsoft.com/office/drawing/2014/main" id="{F87F7229-1133-17DC-168D-91AF96A222BE}"/>
              </a:ext>
            </a:extLst>
          </p:cNvPr>
          <p:cNvSpPr>
            <a:spLocks noGrp="1"/>
          </p:cNvSpPr>
          <p:nvPr>
            <p:ph idx="1"/>
          </p:nvPr>
        </p:nvSpPr>
        <p:spPr>
          <a:xfrm>
            <a:off x="733427" y="2194101"/>
            <a:ext cx="3543298" cy="3973337"/>
          </a:xfrm>
        </p:spPr>
        <p:txBody>
          <a:bodyPr vert="horz" lIns="91440" tIns="45720" rIns="91440" bIns="45720" rtlCol="0" anchor="t">
            <a:normAutofit/>
          </a:bodyPr>
          <a:lstStyle/>
          <a:p>
            <a:pPr marL="0" indent="0">
              <a:buNone/>
            </a:pPr>
            <a:r>
              <a:rPr lang="en-US" sz="2000" dirty="0">
                <a:ea typeface="+mn-lt"/>
                <a:cs typeface="+mn-lt"/>
              </a:rPr>
              <a:t>SBAR is a technique that is typically used to frame conversations between health care providers regarding a patient’s condition and clinical status. </a:t>
            </a:r>
            <a:r>
              <a:rPr lang="en-US" sz="2000" b="1" dirty="0">
                <a:ea typeface="+mn-lt"/>
                <a:cs typeface="+mn-lt"/>
              </a:rPr>
              <a:t>This</a:t>
            </a:r>
            <a:r>
              <a:rPr lang="en-US" sz="2000" dirty="0">
                <a:ea typeface="+mn-lt"/>
                <a:cs typeface="+mn-lt"/>
              </a:rPr>
              <a:t> </a:t>
            </a:r>
            <a:r>
              <a:rPr lang="en-US" sz="2000" b="1" dirty="0">
                <a:ea typeface="+mn-lt"/>
                <a:cs typeface="+mn-lt"/>
              </a:rPr>
              <a:t>SBAR is adapted to promote respectful and inclusive patient communication and care.</a:t>
            </a:r>
            <a:endParaRPr lang="en-US" sz="2000" b="1"/>
          </a:p>
        </p:txBody>
      </p:sp>
      <p:pic>
        <p:nvPicPr>
          <p:cNvPr id="7" name="Picture 7" descr="A picture containing text&#10;&#10;Description automatically generated">
            <a:extLst>
              <a:ext uri="{FF2B5EF4-FFF2-40B4-BE49-F238E27FC236}">
                <a16:creationId xmlns:a16="http://schemas.microsoft.com/office/drawing/2014/main" id="{DCB56657-C4A3-679D-223D-EC19499C30F6}"/>
              </a:ext>
            </a:extLst>
          </p:cNvPr>
          <p:cNvPicPr>
            <a:picLocks noChangeAspect="1"/>
          </p:cNvPicPr>
          <p:nvPr/>
        </p:nvPicPr>
        <p:blipFill>
          <a:blip r:embed="rId2"/>
          <a:stretch>
            <a:fillRect/>
          </a:stretch>
        </p:blipFill>
        <p:spPr>
          <a:xfrm>
            <a:off x="4880620" y="1227590"/>
            <a:ext cx="3496850" cy="4506300"/>
          </a:xfrm>
          <a:prstGeom prst="rect">
            <a:avLst/>
          </a:prstGeom>
        </p:spPr>
      </p:pic>
      <p:pic>
        <p:nvPicPr>
          <p:cNvPr id="6" name="Picture 6" descr="A picture containing text&#10;&#10;Description automatically generated">
            <a:extLst>
              <a:ext uri="{FF2B5EF4-FFF2-40B4-BE49-F238E27FC236}">
                <a16:creationId xmlns:a16="http://schemas.microsoft.com/office/drawing/2014/main" id="{99C7A786-64C8-055B-08C9-9AAFE04E988D}"/>
              </a:ext>
            </a:extLst>
          </p:cNvPr>
          <p:cNvPicPr>
            <a:picLocks noChangeAspect="1"/>
          </p:cNvPicPr>
          <p:nvPr/>
        </p:nvPicPr>
        <p:blipFill>
          <a:blip r:embed="rId3"/>
          <a:stretch>
            <a:fillRect/>
          </a:stretch>
        </p:blipFill>
        <p:spPr>
          <a:xfrm>
            <a:off x="8607360" y="1224052"/>
            <a:ext cx="3421591" cy="4391080"/>
          </a:xfrm>
          <a:prstGeom prst="rect">
            <a:avLst/>
          </a:prstGeom>
        </p:spPr>
      </p:pic>
      <p:sp>
        <p:nvSpPr>
          <p:cNvPr id="5" name="Footer Placeholder 4">
            <a:extLst>
              <a:ext uri="{FF2B5EF4-FFF2-40B4-BE49-F238E27FC236}">
                <a16:creationId xmlns:a16="http://schemas.microsoft.com/office/drawing/2014/main" id="{6EFE608E-84D7-FCBB-FAE6-28ECB76E79B4}"/>
              </a:ext>
            </a:extLst>
          </p:cNvPr>
          <p:cNvSpPr>
            <a:spLocks noGrp="1"/>
          </p:cNvSpPr>
          <p:nvPr>
            <p:ph type="ftr" sz="quarter" idx="11"/>
          </p:nvPr>
        </p:nvSpPr>
        <p:spPr>
          <a:xfrm>
            <a:off x="4038600" y="635635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74D5928B-6259-B6ED-5F46-8A412A04C3F3}"/>
              </a:ext>
            </a:extLst>
          </p:cNvPr>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0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8</a:t>
            </a:fld>
            <a:endParaRPr kumimoji="0" lang="en-US" sz="10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98CEEAED-C319-5F18-E0C0-955703AD043E}"/>
              </a:ext>
            </a:extLst>
          </p:cNvPr>
          <p:cNvSpPr txBox="1"/>
          <p:nvPr/>
        </p:nvSpPr>
        <p:spPr>
          <a:xfrm>
            <a:off x="423333" y="5559777"/>
            <a:ext cx="454377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hlinkClick r:id="rId4"/>
              </a:rPr>
              <a:t>https://www.awhonn.org/awhonn-sbars/</a:t>
            </a:r>
            <a:endParaRPr kumimoji="0" lang="en-US" sz="18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Calibri"/>
              <a:cs typeface="Calibri"/>
            </a:endParaRPr>
          </a:p>
        </p:txBody>
      </p:sp>
      <p:sp>
        <p:nvSpPr>
          <p:cNvPr id="9" name="TextBox 8">
            <a:extLst>
              <a:ext uri="{FF2B5EF4-FFF2-40B4-BE49-F238E27FC236}">
                <a16:creationId xmlns:a16="http://schemas.microsoft.com/office/drawing/2014/main" id="{354111F0-38C7-4D82-8988-283D56C76BC7}"/>
              </a:ext>
            </a:extLst>
          </p:cNvPr>
          <p:cNvSpPr txBox="1"/>
          <p:nvPr/>
        </p:nvSpPr>
        <p:spPr>
          <a:xfrm>
            <a:off x="5503480" y="453333"/>
            <a:ext cx="62077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ea"/>
                <a:cs typeface="+mn-cs"/>
              </a:rPr>
              <a:t>SBAR to improve equitable communication with patients</a:t>
            </a:r>
          </a:p>
        </p:txBody>
      </p:sp>
    </p:spTree>
    <p:extLst>
      <p:ext uri="{BB962C8B-B14F-4D97-AF65-F5344CB8AC3E}">
        <p14:creationId xmlns:p14="http://schemas.microsoft.com/office/powerpoint/2010/main" val="25740676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text, application&#10;&#10;Description automatically generated">
            <a:extLst>
              <a:ext uri="{FF2B5EF4-FFF2-40B4-BE49-F238E27FC236}">
                <a16:creationId xmlns:a16="http://schemas.microsoft.com/office/drawing/2014/main" id="{D2D10EA4-36D1-BCFD-3B2A-38B1E755AC92}"/>
              </a:ext>
            </a:extLst>
          </p:cNvPr>
          <p:cNvPicPr>
            <a:picLocks noGrp="1" noChangeAspect="1"/>
          </p:cNvPicPr>
          <p:nvPr>
            <p:ph idx="1"/>
          </p:nvPr>
        </p:nvPicPr>
        <p:blipFill>
          <a:blip r:embed="rId3"/>
          <a:stretch>
            <a:fillRect/>
          </a:stretch>
        </p:blipFill>
        <p:spPr>
          <a:xfrm>
            <a:off x="3101937" y="1876937"/>
            <a:ext cx="8727684" cy="4351338"/>
          </a:xfrm>
        </p:spPr>
      </p:pic>
      <p:sp>
        <p:nvSpPr>
          <p:cNvPr id="2" name="Title 1">
            <a:extLst>
              <a:ext uri="{FF2B5EF4-FFF2-40B4-BE49-F238E27FC236}">
                <a16:creationId xmlns:a16="http://schemas.microsoft.com/office/drawing/2014/main" id="{65558CF8-7326-9ECC-AE06-A7ECADE714BE}"/>
              </a:ext>
            </a:extLst>
          </p:cNvPr>
          <p:cNvSpPr>
            <a:spLocks noGrp="1"/>
          </p:cNvSpPr>
          <p:nvPr>
            <p:ph type="title"/>
          </p:nvPr>
        </p:nvSpPr>
        <p:spPr>
          <a:xfrm>
            <a:off x="200991" y="-4296"/>
            <a:ext cx="11888695" cy="1597018"/>
          </a:xfrm>
          <a:solidFill>
            <a:schemeClr val="accent1"/>
          </a:solidFill>
        </p:spPr>
        <p:txBody>
          <a:bodyPr/>
          <a:lstStyle/>
          <a:p>
            <a:r>
              <a:rPr lang="en-US" sz="3200">
                <a:solidFill>
                  <a:schemeClr val="bg1"/>
                </a:solidFill>
                <a:ea typeface="Lato Medium"/>
                <a:cs typeface="Lato Medium"/>
              </a:rPr>
              <a:t>ILPQC-Sponsored – </a:t>
            </a:r>
            <a:r>
              <a:rPr lang="en-US" sz="2800">
                <a:solidFill>
                  <a:schemeClr val="bg1"/>
                </a:solidFill>
                <a:ea typeface="Lato Medium"/>
                <a:cs typeface="Lato Medium"/>
              </a:rPr>
              <a:t>FREE AWHONN Resource for your Respectful Care work: </a:t>
            </a:r>
            <a:br>
              <a:rPr lang="en-US" sz="3200">
                <a:ea typeface="Lato Medium"/>
                <a:cs typeface="Lato Medium"/>
              </a:rPr>
            </a:br>
            <a:r>
              <a:rPr lang="en-US" sz="2800" b="0">
                <a:solidFill>
                  <a:schemeClr val="bg1"/>
                </a:solidFill>
                <a:ea typeface="+mj-lt"/>
                <a:cs typeface="+mj-lt"/>
              </a:rPr>
              <a:t>Respectful Maternity Care Guideline  (RMC-EBG) &amp; </a:t>
            </a:r>
            <a:br>
              <a:rPr lang="en-US" sz="2800" b="0">
                <a:solidFill>
                  <a:schemeClr val="bg1"/>
                </a:solidFill>
                <a:ea typeface="+mj-lt"/>
                <a:cs typeface="+mj-lt"/>
              </a:rPr>
            </a:br>
            <a:r>
              <a:rPr lang="en-US" sz="2800" b="0">
                <a:solidFill>
                  <a:schemeClr val="bg1"/>
                </a:solidFill>
                <a:ea typeface="+mj-lt"/>
                <a:cs typeface="+mj-lt"/>
              </a:rPr>
              <a:t>Implementation Toolkit (RMC-IT)</a:t>
            </a:r>
            <a:endParaRPr lang="en-US" sz="2800">
              <a:solidFill>
                <a:schemeClr val="bg1"/>
              </a:solidFill>
            </a:endParaRPr>
          </a:p>
        </p:txBody>
      </p:sp>
      <p:sp>
        <p:nvSpPr>
          <p:cNvPr id="4" name="Slide Number Placeholder 3">
            <a:extLst>
              <a:ext uri="{FF2B5EF4-FFF2-40B4-BE49-F238E27FC236}">
                <a16:creationId xmlns:a16="http://schemas.microsoft.com/office/drawing/2014/main" id="{5B4899B6-15C8-5A5C-A74F-6CE4CEA4531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287AE37-521D-384D-7F6E-D82763B1B77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8" name="Rectangle: Rounded Corners 7">
            <a:extLst>
              <a:ext uri="{FF2B5EF4-FFF2-40B4-BE49-F238E27FC236}">
                <a16:creationId xmlns:a16="http://schemas.microsoft.com/office/drawing/2014/main" id="{0F10777B-F3DD-90CA-8886-230C125ACE96}"/>
              </a:ext>
            </a:extLst>
          </p:cNvPr>
          <p:cNvSpPr/>
          <p:nvPr/>
        </p:nvSpPr>
        <p:spPr>
          <a:xfrm>
            <a:off x="257340" y="1487680"/>
            <a:ext cx="2700166" cy="5242632"/>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ILPQC is providing access to </a:t>
            </a:r>
            <a:endParaRPr kumimoji="0" lang="en-US" sz="18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1) AWHONN Respectful Maternity Care Framework and Evidence-Based Guideline &amp; Toolkit for each BE Team.</a:t>
            </a:r>
            <a:endParaRPr kumimoji="0" lang="en-US" sz="18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A $74.95 val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Team leads – check your email to learn more information!</a:t>
            </a:r>
          </a:p>
        </p:txBody>
      </p:sp>
      <p:pic>
        <p:nvPicPr>
          <p:cNvPr id="9" name="Picture 9" descr="A picture containing icon&#10;&#10;Description automatically generated">
            <a:extLst>
              <a:ext uri="{FF2B5EF4-FFF2-40B4-BE49-F238E27FC236}">
                <a16:creationId xmlns:a16="http://schemas.microsoft.com/office/drawing/2014/main" id="{1D5DE58A-38CB-633A-B4D3-BE37ACB4A827}"/>
              </a:ext>
            </a:extLst>
          </p:cNvPr>
          <p:cNvPicPr>
            <a:picLocks noChangeAspect="1"/>
          </p:cNvPicPr>
          <p:nvPr/>
        </p:nvPicPr>
        <p:blipFill>
          <a:blip r:embed="rId4"/>
          <a:stretch>
            <a:fillRect/>
          </a:stretch>
        </p:blipFill>
        <p:spPr>
          <a:xfrm>
            <a:off x="9603658" y="1814207"/>
            <a:ext cx="2165555" cy="1066489"/>
          </a:xfrm>
          <a:prstGeom prst="rect">
            <a:avLst/>
          </a:prstGeom>
        </p:spPr>
      </p:pic>
    </p:spTree>
    <p:extLst>
      <p:ext uri="{BB962C8B-B14F-4D97-AF65-F5344CB8AC3E}">
        <p14:creationId xmlns:p14="http://schemas.microsoft.com/office/powerpoint/2010/main" val="2584009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E3596DD-156A-473E-9BB3-C6A29F7574E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Freeform: Shape 12">
            <a:extLst>
              <a:ext uri="{FF2B5EF4-FFF2-40B4-BE49-F238E27FC236}">
                <a16:creationId xmlns:a16="http://schemas.microsoft.com/office/drawing/2014/main" id="{2C46C4D6-C474-4E92-B52E-944C1118F7B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962785" cy="6858000"/>
          </a:xfrm>
          <a:custGeom>
            <a:avLst/>
            <a:gdLst>
              <a:gd name="connsiteX0" fmla="*/ 1044839 w 5962785"/>
              <a:gd name="connsiteY0" fmla="*/ 0 h 6858000"/>
              <a:gd name="connsiteX1" fmla="*/ 5962785 w 5962785"/>
              <a:gd name="connsiteY1" fmla="*/ 0 h 6858000"/>
              <a:gd name="connsiteX2" fmla="*/ 5962785 w 5962785"/>
              <a:gd name="connsiteY2" fmla="*/ 6858000 h 6858000"/>
              <a:gd name="connsiteX3" fmla="*/ 1469886 w 5962785"/>
              <a:gd name="connsiteY3" fmla="*/ 6858000 h 6858000"/>
              <a:gd name="connsiteX4" fmla="*/ 1416006 w 5962785"/>
              <a:gd name="connsiteY4" fmla="*/ 6823984 h 6858000"/>
              <a:gd name="connsiteX5" fmla="*/ 1232473 w 5962785"/>
              <a:gd name="connsiteY5" fmla="*/ 6733873 h 6858000"/>
              <a:gd name="connsiteX6" fmla="*/ 1075471 w 5962785"/>
              <a:gd name="connsiteY6" fmla="*/ 6503186 h 6858000"/>
              <a:gd name="connsiteX7" fmla="*/ 1020229 w 5962785"/>
              <a:gd name="connsiteY7" fmla="*/ 6438306 h 6858000"/>
              <a:gd name="connsiteX8" fmla="*/ 883579 w 5962785"/>
              <a:gd name="connsiteY8" fmla="*/ 6351798 h 6858000"/>
              <a:gd name="connsiteX9" fmla="*/ 645167 w 5962785"/>
              <a:gd name="connsiteY9" fmla="*/ 6167969 h 6858000"/>
              <a:gd name="connsiteX10" fmla="*/ 732391 w 5962785"/>
              <a:gd name="connsiteY10" fmla="*/ 6124716 h 6858000"/>
              <a:gd name="connsiteX11" fmla="*/ 985339 w 5962785"/>
              <a:gd name="connsiteY11" fmla="*/ 6236455 h 6858000"/>
              <a:gd name="connsiteX12" fmla="*/ 1168509 w 5962785"/>
              <a:gd name="connsiteY12" fmla="*/ 6265291 h 6858000"/>
              <a:gd name="connsiteX13" fmla="*/ 909746 w 5962785"/>
              <a:gd name="connsiteY13" fmla="*/ 6070649 h 6858000"/>
              <a:gd name="connsiteX14" fmla="*/ 659704 w 5962785"/>
              <a:gd name="connsiteY14" fmla="*/ 5818335 h 6858000"/>
              <a:gd name="connsiteX15" fmla="*/ 851597 w 5962785"/>
              <a:gd name="connsiteY15" fmla="*/ 5865193 h 6858000"/>
              <a:gd name="connsiteX16" fmla="*/ 860319 w 5962785"/>
              <a:gd name="connsiteY16" fmla="*/ 5832753 h 6858000"/>
              <a:gd name="connsiteX17" fmla="*/ 691686 w 5962785"/>
              <a:gd name="connsiteY17" fmla="*/ 5533581 h 6858000"/>
              <a:gd name="connsiteX18" fmla="*/ 610278 w 5962785"/>
              <a:gd name="connsiteY18" fmla="*/ 5411029 h 6858000"/>
              <a:gd name="connsiteX19" fmla="*/ 238123 w 5962785"/>
              <a:gd name="connsiteY19" fmla="*/ 5046976 h 6858000"/>
              <a:gd name="connsiteX20" fmla="*/ 592833 w 5962785"/>
              <a:gd name="connsiteY20" fmla="*/ 5209177 h 6858000"/>
              <a:gd name="connsiteX21" fmla="*/ 226494 w 5962785"/>
              <a:gd name="connsiteY21" fmla="*/ 4855939 h 6858000"/>
              <a:gd name="connsiteX22" fmla="*/ 49139 w 5962785"/>
              <a:gd name="connsiteY22" fmla="*/ 4726177 h 6858000"/>
              <a:gd name="connsiteX23" fmla="*/ 5527 w 5962785"/>
              <a:gd name="connsiteY23" fmla="*/ 4650483 h 6858000"/>
              <a:gd name="connsiteX24" fmla="*/ 84029 w 5962785"/>
              <a:gd name="connsiteY24" fmla="*/ 4632460 h 6858000"/>
              <a:gd name="connsiteX25" fmla="*/ 325347 w 5962785"/>
              <a:gd name="connsiteY25" fmla="*/ 4661296 h 6858000"/>
              <a:gd name="connsiteX26" fmla="*/ 25879 w 5962785"/>
              <a:gd name="connsiteY26" fmla="*/ 4423401 h 6858000"/>
              <a:gd name="connsiteX27" fmla="*/ 249753 w 5962785"/>
              <a:gd name="connsiteY27" fmla="*/ 4459446 h 6858000"/>
              <a:gd name="connsiteX28" fmla="*/ 313718 w 5962785"/>
              <a:gd name="connsiteY28" fmla="*/ 4365729 h 6858000"/>
              <a:gd name="connsiteX29" fmla="*/ 418386 w 5962785"/>
              <a:gd name="connsiteY29" fmla="*/ 4214341 h 6858000"/>
              <a:gd name="connsiteX30" fmla="*/ 491072 w 5962785"/>
              <a:gd name="connsiteY30" fmla="*/ 4131438 h 6858000"/>
              <a:gd name="connsiteX31" fmla="*/ 520147 w 5962785"/>
              <a:gd name="connsiteY31" fmla="*/ 3864706 h 6858000"/>
              <a:gd name="connsiteX32" fmla="*/ 459090 w 5962785"/>
              <a:gd name="connsiteY32" fmla="*/ 3572743 h 6858000"/>
              <a:gd name="connsiteX33" fmla="*/ 290458 w 5962785"/>
              <a:gd name="connsiteY33" fmla="*/ 3424959 h 6858000"/>
              <a:gd name="connsiteX34" fmla="*/ 339884 w 5962785"/>
              <a:gd name="connsiteY34" fmla="*/ 3259153 h 6858000"/>
              <a:gd name="connsiteX35" fmla="*/ 697501 w 5962785"/>
              <a:gd name="connsiteY35" fmla="*/ 3360078 h 6858000"/>
              <a:gd name="connsiteX36" fmla="*/ 165437 w 5962785"/>
              <a:gd name="connsiteY36" fmla="*/ 2967190 h 6858000"/>
              <a:gd name="connsiteX37" fmla="*/ 255568 w 5962785"/>
              <a:gd name="connsiteY37" fmla="*/ 2949167 h 6858000"/>
              <a:gd name="connsiteX38" fmla="*/ 578296 w 5962785"/>
              <a:gd name="connsiteY38" fmla="*/ 2725691 h 6858000"/>
              <a:gd name="connsiteX39" fmla="*/ 595740 w 5962785"/>
              <a:gd name="connsiteY39" fmla="*/ 2714876 h 6858000"/>
              <a:gd name="connsiteX40" fmla="*/ 650982 w 5962785"/>
              <a:gd name="connsiteY40" fmla="*/ 2574301 h 6858000"/>
              <a:gd name="connsiteX41" fmla="*/ 825429 w 5962785"/>
              <a:gd name="connsiteY41" fmla="*/ 2552674 h 6858000"/>
              <a:gd name="connsiteX42" fmla="*/ 970802 w 5962785"/>
              <a:gd name="connsiteY42" fmla="*/ 2585115 h 6858000"/>
              <a:gd name="connsiteX43" fmla="*/ 1127805 w 5962785"/>
              <a:gd name="connsiteY43" fmla="*/ 2545465 h 6858000"/>
              <a:gd name="connsiteX44" fmla="*/ 1267362 w 5962785"/>
              <a:gd name="connsiteY44" fmla="*/ 2563488 h 6858000"/>
              <a:gd name="connsiteX45" fmla="*/ 1386568 w 5962785"/>
              <a:gd name="connsiteY45" fmla="*/ 2538257 h 6858000"/>
              <a:gd name="connsiteX46" fmla="*/ 1270270 w 5962785"/>
              <a:gd name="connsiteY46" fmla="*/ 2419309 h 6858000"/>
              <a:gd name="connsiteX47" fmla="*/ 1107453 w 5962785"/>
              <a:gd name="connsiteY47" fmla="*/ 2419309 h 6858000"/>
              <a:gd name="connsiteX48" fmla="*/ 991154 w 5962785"/>
              <a:gd name="connsiteY48" fmla="*/ 2343615 h 6858000"/>
              <a:gd name="connsiteX49" fmla="*/ 880671 w 5962785"/>
              <a:gd name="connsiteY49" fmla="*/ 2206645 h 6858000"/>
              <a:gd name="connsiteX50" fmla="*/ 491072 w 5962785"/>
              <a:gd name="connsiteY50" fmla="*/ 1986771 h 6858000"/>
              <a:gd name="connsiteX51" fmla="*/ 421293 w 5962785"/>
              <a:gd name="connsiteY51" fmla="*/ 1903868 h 6858000"/>
              <a:gd name="connsiteX52" fmla="*/ 1531941 w 5962785"/>
              <a:gd name="connsiteY52" fmla="*/ 2224667 h 6858000"/>
              <a:gd name="connsiteX53" fmla="*/ 1188861 w 5962785"/>
              <a:gd name="connsiteY53" fmla="*/ 2091301 h 6858000"/>
              <a:gd name="connsiteX54" fmla="*/ 1421458 w 5962785"/>
              <a:gd name="connsiteY54" fmla="*/ 2116532 h 6858000"/>
              <a:gd name="connsiteX55" fmla="*/ 1549386 w 5962785"/>
              <a:gd name="connsiteY55" fmla="*/ 2026420 h 6858000"/>
              <a:gd name="connsiteX56" fmla="*/ 1549386 w 5962785"/>
              <a:gd name="connsiteY56" fmla="*/ 1997584 h 6858000"/>
              <a:gd name="connsiteX57" fmla="*/ 1453440 w 5962785"/>
              <a:gd name="connsiteY57" fmla="*/ 1914682 h 6858000"/>
              <a:gd name="connsiteX58" fmla="*/ 1398198 w 5962785"/>
              <a:gd name="connsiteY58" fmla="*/ 1860614 h 6858000"/>
              <a:gd name="connsiteX59" fmla="*/ 1247011 w 5962785"/>
              <a:gd name="connsiteY59" fmla="*/ 1665972 h 6858000"/>
              <a:gd name="connsiteX60" fmla="*/ 1354586 w 5962785"/>
              <a:gd name="connsiteY60" fmla="*/ 1644345 h 6858000"/>
              <a:gd name="connsiteX61" fmla="*/ 1395290 w 5962785"/>
              <a:gd name="connsiteY61" fmla="*/ 1604696 h 6858000"/>
              <a:gd name="connsiteX62" fmla="*/ 1366216 w 5962785"/>
              <a:gd name="connsiteY62" fmla="*/ 1547025 h 6858000"/>
              <a:gd name="connsiteX63" fmla="*/ 1031858 w 5962785"/>
              <a:gd name="connsiteY63" fmla="*/ 1370405 h 6858000"/>
              <a:gd name="connsiteX64" fmla="*/ 1005692 w 5962785"/>
              <a:gd name="connsiteY64" fmla="*/ 1233435 h 6858000"/>
              <a:gd name="connsiteX65" fmla="*/ 1069655 w 5962785"/>
              <a:gd name="connsiteY65" fmla="*/ 1211808 h 6858000"/>
              <a:gd name="connsiteX66" fmla="*/ 1142342 w 5962785"/>
              <a:gd name="connsiteY66" fmla="*/ 1222621 h 6858000"/>
              <a:gd name="connsiteX67" fmla="*/ 1084193 w 5962785"/>
              <a:gd name="connsiteY67" fmla="*/ 1114487 h 6858000"/>
              <a:gd name="connsiteX68" fmla="*/ 848689 w 5962785"/>
              <a:gd name="connsiteY68" fmla="*/ 1006353 h 6858000"/>
              <a:gd name="connsiteX69" fmla="*/ 805077 w 5962785"/>
              <a:gd name="connsiteY69" fmla="*/ 948681 h 6858000"/>
              <a:gd name="connsiteX70" fmla="*/ 863226 w 5962785"/>
              <a:gd name="connsiteY70" fmla="*/ 919844 h 6858000"/>
              <a:gd name="connsiteX71" fmla="*/ 906838 w 5962785"/>
              <a:gd name="connsiteY71" fmla="*/ 909031 h 6858000"/>
              <a:gd name="connsiteX72" fmla="*/ 5527 w 5962785"/>
              <a:gd name="connsiteY72" fmla="*/ 458471 h 6858000"/>
              <a:gd name="connsiteX73" fmla="*/ 209049 w 5962785"/>
              <a:gd name="connsiteY73" fmla="*/ 454867 h 6858000"/>
              <a:gd name="connsiteX74" fmla="*/ 409664 w 5962785"/>
              <a:gd name="connsiteY74" fmla="*/ 526956 h 6858000"/>
              <a:gd name="connsiteX75" fmla="*/ 621908 w 5962785"/>
              <a:gd name="connsiteY75" fmla="*/ 516143 h 6858000"/>
              <a:gd name="connsiteX76" fmla="*/ 822522 w 5962785"/>
              <a:gd name="connsiteY76" fmla="*/ 552188 h 6858000"/>
              <a:gd name="connsiteX77" fmla="*/ 996969 w 5962785"/>
              <a:gd name="connsiteY77" fmla="*/ 552188 h 6858000"/>
              <a:gd name="connsiteX78" fmla="*/ 834151 w 5962785"/>
              <a:gd name="connsiteY78" fmla="*/ 498120 h 6858000"/>
              <a:gd name="connsiteX79" fmla="*/ 773095 w 5962785"/>
              <a:gd name="connsiteY79" fmla="*/ 408008 h 6858000"/>
              <a:gd name="connsiteX80" fmla="*/ 793447 w 5962785"/>
              <a:gd name="connsiteY80" fmla="*/ 325106 h 6858000"/>
              <a:gd name="connsiteX81" fmla="*/ 860319 w 5962785"/>
              <a:gd name="connsiteY81" fmla="*/ 350336 h 6858000"/>
              <a:gd name="connsiteX82" fmla="*/ 938820 w 5962785"/>
              <a:gd name="connsiteY82" fmla="*/ 444054 h 6858000"/>
              <a:gd name="connsiteX83" fmla="*/ 956265 w 5962785"/>
              <a:gd name="connsiteY83" fmla="*/ 386381 h 6858000"/>
              <a:gd name="connsiteX84" fmla="*/ 1002784 w 5962785"/>
              <a:gd name="connsiteY84" fmla="*/ 343127 h 6858000"/>
              <a:gd name="connsiteX85" fmla="*/ 1270270 w 5962785"/>
              <a:gd name="connsiteY85" fmla="*/ 364755 h 6858000"/>
              <a:gd name="connsiteX86" fmla="*/ 1092915 w 5962785"/>
              <a:gd name="connsiteY86" fmla="*/ 180926 h 6858000"/>
              <a:gd name="connsiteX87" fmla="*/ 979525 w 5962785"/>
              <a:gd name="connsiteY87" fmla="*/ 152090 h 6858000"/>
              <a:gd name="connsiteX88" fmla="*/ 953358 w 5962785"/>
              <a:gd name="connsiteY88" fmla="*/ 76396 h 6858000"/>
              <a:gd name="connsiteX89" fmla="*/ 1005692 w 5962785"/>
              <a:gd name="connsiteY89" fmla="*/ 58373 h 6858000"/>
              <a:gd name="connsiteX90" fmla="*/ 1267362 w 5962785"/>
              <a:gd name="connsiteY90" fmla="*/ 123254 h 6858000"/>
              <a:gd name="connsiteX91" fmla="*/ 1310975 w 5962785"/>
              <a:gd name="connsiteY91" fmla="*/ 98023 h 6858000"/>
              <a:gd name="connsiteX92" fmla="*/ 1159787 w 5962785"/>
              <a:gd name="connsiteY92" fmla="*/ 435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solidFill>
            <a:schemeClr val="bg2">
              <a:alpha val="50000"/>
            </a:schemeClr>
          </a:solidFill>
          <a:ln w="32707" cap="flat">
            <a:noFill/>
            <a:prstDash val="solid"/>
            <a:miter/>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11CD273-DEA5-45AF-9D5A-391AF310DE35}"/>
              </a:ext>
            </a:extLst>
          </p:cNvPr>
          <p:cNvSpPr>
            <a:spLocks noGrp="1"/>
          </p:cNvSpPr>
          <p:nvPr>
            <p:ph type="title"/>
          </p:nvPr>
        </p:nvSpPr>
        <p:spPr>
          <a:xfrm>
            <a:off x="872837" y="477212"/>
            <a:ext cx="4588741" cy="1800526"/>
          </a:xfrm>
        </p:spPr>
        <p:txBody>
          <a:bodyPr>
            <a:normAutofit fontScale="90000"/>
          </a:bodyPr>
          <a:lstStyle/>
          <a:p>
            <a:r>
              <a:rPr lang="en-US" dirty="0">
                <a:ea typeface="Lato Medium"/>
                <a:cs typeface="Lato Medium"/>
              </a:rPr>
              <a:t>Host toolkit for Aftershock viewing with your clinical team </a:t>
            </a:r>
            <a:endParaRPr lang="en-US" dirty="0"/>
          </a:p>
        </p:txBody>
      </p:sp>
      <p:sp>
        <p:nvSpPr>
          <p:cNvPr id="3" name="Content Placeholder 2">
            <a:extLst>
              <a:ext uri="{FF2B5EF4-FFF2-40B4-BE49-F238E27FC236}">
                <a16:creationId xmlns:a16="http://schemas.microsoft.com/office/drawing/2014/main" id="{CAED68A6-1B31-73E4-6D22-293A071B4F69}"/>
              </a:ext>
            </a:extLst>
          </p:cNvPr>
          <p:cNvSpPr>
            <a:spLocks noGrp="1"/>
          </p:cNvSpPr>
          <p:nvPr>
            <p:ph idx="1"/>
          </p:nvPr>
        </p:nvSpPr>
        <p:spPr>
          <a:xfrm>
            <a:off x="838201" y="2324759"/>
            <a:ext cx="3888528" cy="3553581"/>
          </a:xfrm>
        </p:spPr>
        <p:txBody>
          <a:bodyPr vert="horz" lIns="91440" tIns="45720" rIns="91440" bIns="45720" rtlCol="0" anchor="t">
            <a:normAutofit/>
          </a:bodyPr>
          <a:lstStyle/>
          <a:p>
            <a:pPr>
              <a:lnSpc>
                <a:spcPct val="90000"/>
              </a:lnSpc>
            </a:pPr>
            <a:r>
              <a:rPr lang="en-US" sz="1900">
                <a:ea typeface="+mn-lt"/>
                <a:cs typeface="+mn-lt"/>
              </a:rPr>
              <a:t>Spotlights the long-lasting effects of the U.S. Maternal Health Crisis, following two families seeking justice through legislation, medical accountability, community, and the power of art.</a:t>
            </a:r>
          </a:p>
          <a:p>
            <a:pPr>
              <a:lnSpc>
                <a:spcPct val="90000"/>
              </a:lnSpc>
            </a:pPr>
            <a:r>
              <a:rPr lang="en-US" sz="1900" b="1">
                <a:ea typeface="+mn-lt"/>
                <a:cs typeface="+mn-lt"/>
              </a:rPr>
              <a:t>Currently available to screen on Hulu</a:t>
            </a:r>
            <a:r>
              <a:rPr lang="en-US" sz="1900" b="1" dirty="0">
                <a:ea typeface="+mn-lt"/>
                <a:cs typeface="+mn-lt"/>
              </a:rPr>
              <a:t> with Hulu account</a:t>
            </a:r>
            <a:r>
              <a:rPr lang="en-US" sz="1900" b="1">
                <a:ea typeface="+mn-lt"/>
                <a:cs typeface="+mn-lt"/>
              </a:rPr>
              <a:t>!</a:t>
            </a:r>
            <a:endParaRPr lang="en-US" sz="1900" b="1"/>
          </a:p>
          <a:p>
            <a:pPr>
              <a:lnSpc>
                <a:spcPct val="90000"/>
              </a:lnSpc>
            </a:pPr>
            <a:r>
              <a:rPr lang="en-US" sz="1900">
                <a:ea typeface="+mn-lt"/>
                <a:cs typeface="+mn-lt"/>
              </a:rPr>
              <a:t>If you're interested in hosting a screening or watch party, you can utilize the </a:t>
            </a:r>
            <a:r>
              <a:rPr lang="en-US" sz="1900">
                <a:ea typeface="+mn-lt"/>
                <a:cs typeface="+mn-lt"/>
                <a:hlinkClick r:id="rId2"/>
              </a:rPr>
              <a:t>host toolkit.</a:t>
            </a:r>
            <a:endParaRPr lang="en-US" sz="1900">
              <a:cs typeface="Calibri"/>
            </a:endParaRPr>
          </a:p>
        </p:txBody>
      </p:sp>
      <p:pic>
        <p:nvPicPr>
          <p:cNvPr id="6" name="Picture 6" descr="Diagram&#10;&#10;Description automatically generated">
            <a:extLst>
              <a:ext uri="{FF2B5EF4-FFF2-40B4-BE49-F238E27FC236}">
                <a16:creationId xmlns:a16="http://schemas.microsoft.com/office/drawing/2014/main" id="{3CF6352C-80D4-8411-F069-EF580A297D1C}"/>
              </a:ext>
            </a:extLst>
          </p:cNvPr>
          <p:cNvPicPr>
            <a:picLocks noChangeAspect="1"/>
          </p:cNvPicPr>
          <p:nvPr/>
        </p:nvPicPr>
        <p:blipFill>
          <a:blip r:embed="rId3"/>
          <a:stretch>
            <a:fillRect/>
          </a:stretch>
        </p:blipFill>
        <p:spPr>
          <a:xfrm>
            <a:off x="6937982" y="643234"/>
            <a:ext cx="4473555" cy="5599876"/>
          </a:xfrm>
          <a:prstGeom prst="rect">
            <a:avLst/>
          </a:prstGeom>
        </p:spPr>
      </p:pic>
      <p:sp>
        <p:nvSpPr>
          <p:cNvPr id="5" name="Footer Placeholder 4">
            <a:extLst>
              <a:ext uri="{FF2B5EF4-FFF2-40B4-BE49-F238E27FC236}">
                <a16:creationId xmlns:a16="http://schemas.microsoft.com/office/drawing/2014/main" id="{D85DA53E-FFF7-E00B-4455-F505E0189A23}"/>
              </a:ext>
            </a:extLst>
          </p:cNvPr>
          <p:cNvSpPr>
            <a:spLocks noGrp="1"/>
          </p:cNvSpPr>
          <p:nvPr>
            <p:ph type="ftr" sz="quarter" idx="11"/>
          </p:nvPr>
        </p:nvSpPr>
        <p:spPr>
          <a:xfrm>
            <a:off x="4038600" y="635635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604F9562-47DD-46D2-33E6-22AF95DD8AB7}"/>
              </a:ext>
            </a:extLst>
          </p:cNvPr>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13786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A419AC-D198-A06E-A475-E42D0C3C9C58}"/>
              </a:ext>
            </a:extLst>
          </p:cNvPr>
          <p:cNvSpPr>
            <a:spLocks noGrp="1"/>
          </p:cNvSpPr>
          <p:nvPr>
            <p:ph type="body" sz="quarter" idx="10"/>
          </p:nvPr>
        </p:nvSpPr>
        <p:spPr>
          <a:xfrm>
            <a:off x="54633" y="1275654"/>
            <a:ext cx="4247979" cy="2971798"/>
          </a:xfrm>
        </p:spPr>
        <p:txBody>
          <a:bodyPr/>
          <a:lstStyle/>
          <a:p>
            <a:r>
              <a:rPr lang="en-US" sz="3200" b="1" dirty="0">
                <a:ea typeface="Lato"/>
                <a:cs typeface="Lato"/>
              </a:rPr>
              <a:t>CDC HEAR HER Campaign</a:t>
            </a:r>
          </a:p>
          <a:p>
            <a:r>
              <a:rPr lang="en-US" dirty="0">
                <a:ea typeface="Lato"/>
                <a:cs typeface="Lato"/>
                <a:hlinkClick r:id="rId2"/>
              </a:rPr>
              <a:t>Resources</a:t>
            </a:r>
            <a:r>
              <a:rPr lang="en-US" dirty="0">
                <a:ea typeface="Lato"/>
                <a:cs typeface="Lato"/>
              </a:rPr>
              <a:t> for patients and healthcare professionals</a:t>
            </a:r>
            <a:endParaRPr lang="en-US" dirty="0"/>
          </a:p>
        </p:txBody>
      </p:sp>
      <p:pic>
        <p:nvPicPr>
          <p:cNvPr id="4" name="Picture 4" descr="A picture containing text, person, underpants&#10;&#10;Description automatically generated">
            <a:extLst>
              <a:ext uri="{FF2B5EF4-FFF2-40B4-BE49-F238E27FC236}">
                <a16:creationId xmlns:a16="http://schemas.microsoft.com/office/drawing/2014/main" id="{29579A04-A6B5-ABF4-E652-D2255AF88B2E}"/>
              </a:ext>
            </a:extLst>
          </p:cNvPr>
          <p:cNvPicPr>
            <a:picLocks noGrp="1" noChangeAspect="1"/>
          </p:cNvPicPr>
          <p:nvPr>
            <p:ph type="pic" sz="quarter" idx="11"/>
          </p:nvPr>
        </p:nvPicPr>
        <p:blipFill rotWithShape="1">
          <a:blip r:embed="rId3"/>
          <a:srcRect l="13197" t="-725" r="2449" b="966"/>
          <a:stretch/>
        </p:blipFill>
        <p:spPr>
          <a:xfrm>
            <a:off x="4302614" y="902900"/>
            <a:ext cx="7619314" cy="5066609"/>
          </a:xfrm>
        </p:spPr>
      </p:pic>
    </p:spTree>
    <p:extLst>
      <p:ext uri="{BB962C8B-B14F-4D97-AF65-F5344CB8AC3E}">
        <p14:creationId xmlns:p14="http://schemas.microsoft.com/office/powerpoint/2010/main" val="32780537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E3CB0-A844-4894-B64F-43135EE879AA}"/>
              </a:ext>
            </a:extLst>
          </p:cNvPr>
          <p:cNvSpPr>
            <a:spLocks noGrp="1"/>
          </p:cNvSpPr>
          <p:nvPr>
            <p:ph type="title"/>
          </p:nvPr>
        </p:nvSpPr>
        <p:spPr>
          <a:xfrm>
            <a:off x="609600" y="365125"/>
            <a:ext cx="5092700" cy="1325563"/>
          </a:xfrm>
        </p:spPr>
        <p:txBody>
          <a:bodyPr/>
          <a:lstStyle/>
          <a:p>
            <a:r>
              <a:rPr lang="en-US" dirty="0"/>
              <a:t>Active Listening Training Tools</a:t>
            </a:r>
          </a:p>
        </p:txBody>
      </p:sp>
      <p:sp>
        <p:nvSpPr>
          <p:cNvPr id="3" name="Slide Number Placeholder 2">
            <a:extLst>
              <a:ext uri="{FF2B5EF4-FFF2-40B4-BE49-F238E27FC236}">
                <a16:creationId xmlns:a16="http://schemas.microsoft.com/office/drawing/2014/main" id="{3D2CA8C7-D34B-4D1D-85CC-26CA82888383}"/>
              </a:ext>
            </a:extLst>
          </p:cNvPr>
          <p:cNvSpPr>
            <a:spLocks noGrp="1"/>
          </p:cNvSpPr>
          <p:nvPr>
            <p:ph type="sldNum" sz="quarter" idx="10"/>
          </p:nvPr>
        </p:nvSpPr>
        <p:spPr/>
        <p:txBody>
          <a:bodyPr/>
          <a:lstStyle/>
          <a:p>
            <a:fld id="{97033E4B-E3EB-3D46-B2D8-3159663620FA}" type="slidenum">
              <a:rPr lang="en-US" smtClean="0"/>
              <a:t>41</a:t>
            </a:fld>
            <a:endParaRPr lang="en-US"/>
          </a:p>
        </p:txBody>
      </p:sp>
      <p:sp>
        <p:nvSpPr>
          <p:cNvPr id="4" name="Footer Placeholder 3">
            <a:extLst>
              <a:ext uri="{FF2B5EF4-FFF2-40B4-BE49-F238E27FC236}">
                <a16:creationId xmlns:a16="http://schemas.microsoft.com/office/drawing/2014/main" id="{33B35C80-B144-4D1B-BEAB-88E413F22932}"/>
              </a:ext>
            </a:extLst>
          </p:cNvPr>
          <p:cNvSpPr>
            <a:spLocks noGrp="1"/>
          </p:cNvSpPr>
          <p:nvPr>
            <p:ph type="ftr" sz="quarter" idx="11"/>
          </p:nvPr>
        </p:nvSpPr>
        <p:spPr/>
        <p:txBody>
          <a:bodyPr/>
          <a:lstStyle/>
          <a:p>
            <a:pPr algn="l"/>
            <a:r>
              <a:rPr lang="en-US"/>
              <a:t>Illinois Perinatal Quality Collaborative</a:t>
            </a:r>
          </a:p>
        </p:txBody>
      </p:sp>
      <p:pic>
        <p:nvPicPr>
          <p:cNvPr id="6" name="Picture 5">
            <a:extLst>
              <a:ext uri="{FF2B5EF4-FFF2-40B4-BE49-F238E27FC236}">
                <a16:creationId xmlns:a16="http://schemas.microsoft.com/office/drawing/2014/main" id="{26262EEA-2FE3-4D0A-A22B-DE0105C7B3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70362" y="270213"/>
            <a:ext cx="5916838" cy="5893265"/>
          </a:xfrm>
          <a:prstGeom prst="rect">
            <a:avLst/>
          </a:prstGeom>
        </p:spPr>
      </p:pic>
      <p:sp>
        <p:nvSpPr>
          <p:cNvPr id="9" name="TextBox 8">
            <a:extLst>
              <a:ext uri="{FF2B5EF4-FFF2-40B4-BE49-F238E27FC236}">
                <a16:creationId xmlns:a16="http://schemas.microsoft.com/office/drawing/2014/main" id="{DFFCA1B7-45F6-41C1-B817-FE5ADCA42DCD}"/>
              </a:ext>
            </a:extLst>
          </p:cNvPr>
          <p:cNvSpPr txBox="1"/>
          <p:nvPr/>
        </p:nvSpPr>
        <p:spPr>
          <a:xfrm>
            <a:off x="609600" y="1840023"/>
            <a:ext cx="5067300" cy="4708981"/>
          </a:xfrm>
          <a:prstGeom prst="rect">
            <a:avLst/>
          </a:prstGeom>
          <a:noFill/>
        </p:spPr>
        <p:txBody>
          <a:bodyPr wrap="square" rtlCol="0">
            <a:spAutoFit/>
          </a:bodyPr>
          <a:lstStyle/>
          <a:p>
            <a:r>
              <a:rPr lang="en-US" sz="2400" b="1" dirty="0"/>
              <a:t>Steps to help ensure that you hear the </a:t>
            </a:r>
            <a:r>
              <a:rPr lang="en-US" sz="2400" b="1" dirty="0" err="1"/>
              <a:t>the</a:t>
            </a:r>
            <a:r>
              <a:rPr lang="en-US" sz="2400" b="1" dirty="0"/>
              <a:t> patient, and that the patient knows you are listening to what they say.</a:t>
            </a:r>
            <a:endParaRPr lang="en-US" sz="2400" dirty="0"/>
          </a:p>
          <a:p>
            <a:r>
              <a:rPr lang="en-US" sz="2400" dirty="0"/>
              <a:t>Pay attention. Give the speaker your undivided attention, sit down, make eye contact, hands in lap and lean in. ...</a:t>
            </a:r>
          </a:p>
          <a:p>
            <a:r>
              <a:rPr lang="en-US" sz="2400" dirty="0"/>
              <a:t>Show that you are listening...encourage</a:t>
            </a:r>
          </a:p>
          <a:p>
            <a:r>
              <a:rPr lang="en-US" sz="2400" dirty="0"/>
              <a:t>Re-state and clarify what you hear. ...</a:t>
            </a:r>
          </a:p>
          <a:p>
            <a:r>
              <a:rPr lang="en-US" sz="2400" dirty="0"/>
              <a:t>Defer judgment. ... </a:t>
            </a:r>
          </a:p>
          <a:p>
            <a:r>
              <a:rPr lang="en-US" sz="2400" dirty="0"/>
              <a:t>Respond Appropriately.</a:t>
            </a:r>
          </a:p>
          <a:p>
            <a:br>
              <a:rPr lang="en-US" dirty="0"/>
            </a:br>
            <a:endParaRPr lang="en-US" dirty="0"/>
          </a:p>
        </p:txBody>
      </p:sp>
    </p:spTree>
    <p:extLst>
      <p:ext uri="{BB962C8B-B14F-4D97-AF65-F5344CB8AC3E}">
        <p14:creationId xmlns:p14="http://schemas.microsoft.com/office/powerpoint/2010/main" val="40319875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12">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14">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16">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Freeform: Shape 18">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Rectangle 20">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E7BFC7C-B149-4A7C-C03A-B46DF5550103}"/>
              </a:ext>
            </a:extLst>
          </p:cNvPr>
          <p:cNvSpPr>
            <a:spLocks noGrp="1"/>
          </p:cNvSpPr>
          <p:nvPr>
            <p:ph type="title"/>
          </p:nvPr>
        </p:nvSpPr>
        <p:spPr>
          <a:xfrm>
            <a:off x="813853" y="1378369"/>
            <a:ext cx="2971492" cy="3374020"/>
          </a:xfrm>
        </p:spPr>
        <p:txBody>
          <a:bodyPr anchor="b">
            <a:normAutofit/>
          </a:bodyPr>
          <a:lstStyle/>
          <a:p>
            <a:pPr>
              <a:lnSpc>
                <a:spcPct val="90000"/>
              </a:lnSpc>
            </a:pPr>
            <a:br>
              <a:rPr lang="en-US" sz="3100" dirty="0">
                <a:solidFill>
                  <a:srgbClr val="FFFFFF"/>
                </a:solidFill>
                <a:ea typeface="Lato Medium"/>
                <a:cs typeface="Lato Medium"/>
              </a:rPr>
            </a:br>
            <a:r>
              <a:rPr lang="en-US" sz="4400" dirty="0">
                <a:solidFill>
                  <a:srgbClr val="FFFFFF"/>
                </a:solidFill>
                <a:ea typeface="Lato Medium"/>
                <a:cs typeface="Lato Medium"/>
              </a:rPr>
              <a:t>Resource for Shared Decision Making</a:t>
            </a:r>
            <a:endParaRPr lang="en-US" sz="4400" dirty="0">
              <a:solidFill>
                <a:srgbClr val="FFFFFF"/>
              </a:solidFill>
            </a:endParaRPr>
          </a:p>
        </p:txBody>
      </p:sp>
      <p:sp>
        <p:nvSpPr>
          <p:cNvPr id="5" name="Footer Placeholder 4">
            <a:extLst>
              <a:ext uri="{FF2B5EF4-FFF2-40B4-BE49-F238E27FC236}">
                <a16:creationId xmlns:a16="http://schemas.microsoft.com/office/drawing/2014/main" id="{A71268A8-79E4-197F-D542-6C1DCC898FD8}"/>
              </a:ext>
            </a:extLst>
          </p:cNvPr>
          <p:cNvSpPr>
            <a:spLocks noGrp="1"/>
          </p:cNvSpPr>
          <p:nvPr>
            <p:ph type="ftr" sz="quarter" idx="11"/>
          </p:nvPr>
        </p:nvSpPr>
        <p:spPr>
          <a:xfrm rot="5400000">
            <a:off x="-1828800" y="1984248"/>
            <a:ext cx="4114800" cy="36512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F463FF8F-A7BE-88B7-F33E-8D402BC965DD}"/>
              </a:ext>
            </a:extLst>
          </p:cNvPr>
          <p:cNvSpPr>
            <a:spLocks noGrp="1"/>
          </p:cNvSpPr>
          <p:nvPr>
            <p:ph type="sldNum" sz="quarter" idx="10"/>
          </p:nvPr>
        </p:nvSpPr>
        <p:spPr>
          <a:xfrm>
            <a:off x="11704320" y="6455664"/>
            <a:ext cx="448056"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2</a:t>
            </a:fld>
            <a:endPar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endParaRPr>
          </a:p>
        </p:txBody>
      </p:sp>
      <p:graphicFrame>
        <p:nvGraphicFramePr>
          <p:cNvPr id="37" name="Content Placeholder 2">
            <a:extLst>
              <a:ext uri="{FF2B5EF4-FFF2-40B4-BE49-F238E27FC236}">
                <a16:creationId xmlns:a16="http://schemas.microsoft.com/office/drawing/2014/main" id="{2CC371E4-F656-DA0F-E4AE-BE852EC8A042}"/>
              </a:ext>
            </a:extLst>
          </p:cNvPr>
          <p:cNvGraphicFramePr>
            <a:graphicFrameLocks noGrp="1"/>
          </p:cNvGraphicFramePr>
          <p:nvPr>
            <p:ph idx="1"/>
            <p:extLst>
              <p:ext uri="{D42A27DB-BD31-4B8C-83A1-F6EECF244321}">
                <p14:modId xmlns:p14="http://schemas.microsoft.com/office/powerpoint/2010/main" val="2082204464"/>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793171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721A5F7-5C24-5412-3C05-F4078A6FAE0D}"/>
              </a:ext>
            </a:extLst>
          </p:cNvPr>
          <p:cNvSpPr>
            <a:spLocks noGrp="1"/>
          </p:cNvSpPr>
          <p:nvPr>
            <p:ph type="title"/>
          </p:nvPr>
        </p:nvSpPr>
        <p:spPr>
          <a:xfrm>
            <a:off x="630936" y="639520"/>
            <a:ext cx="3429000" cy="1719072"/>
          </a:xfrm>
        </p:spPr>
        <p:txBody>
          <a:bodyPr anchor="b">
            <a:normAutofit/>
          </a:bodyPr>
          <a:lstStyle/>
          <a:p>
            <a:pPr>
              <a:lnSpc>
                <a:spcPct val="90000"/>
              </a:lnSpc>
            </a:pPr>
            <a:r>
              <a:rPr lang="en-US" sz="2600">
                <a:ea typeface="Lato Medium"/>
                <a:cs typeface="Lato Medium"/>
              </a:rPr>
              <a:t>Birth Place Lab Person-Centered Decision Making Tool</a:t>
            </a:r>
            <a:endParaRPr lang="en-US" sz="2600"/>
          </a:p>
        </p:txBody>
      </p:sp>
      <p:sp>
        <p:nvSpPr>
          <p:cNvPr id="13"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34BC35AF-9ED2-FBFF-D4E6-3A4DA8AFC905}"/>
              </a:ext>
            </a:extLst>
          </p:cNvPr>
          <p:cNvSpPr>
            <a:spLocks noGrp="1"/>
          </p:cNvSpPr>
          <p:nvPr>
            <p:ph idx="1"/>
          </p:nvPr>
        </p:nvSpPr>
        <p:spPr>
          <a:xfrm>
            <a:off x="630936" y="2807208"/>
            <a:ext cx="3429000" cy="3410712"/>
          </a:xfrm>
        </p:spPr>
        <p:txBody>
          <a:bodyPr vert="horz" lIns="91440" tIns="45720" rIns="91440" bIns="45720" rtlCol="0" anchor="t">
            <a:normAutofit/>
          </a:bodyPr>
          <a:lstStyle/>
          <a:p>
            <a:r>
              <a:rPr lang="en-US" sz="2200">
                <a:ea typeface="Lato"/>
                <a:cs typeface="Lato"/>
                <a:hlinkClick r:id="rId2"/>
              </a:rPr>
              <a:t>Decision Making Tool</a:t>
            </a:r>
            <a:endParaRPr lang="en-US" sz="2200">
              <a:ea typeface="Lato"/>
              <a:cs typeface="Lato"/>
            </a:endParaRPr>
          </a:p>
          <a:p>
            <a:r>
              <a:rPr lang="en-US" sz="2200">
                <a:ea typeface="Lato"/>
                <a:cs typeface="Lato"/>
              </a:rPr>
              <a:t>Person-Centered Decision Making </a:t>
            </a:r>
            <a:r>
              <a:rPr lang="en-US" sz="2200">
                <a:ea typeface="Lato"/>
                <a:cs typeface="Lato"/>
                <a:hlinkClick r:id="rId3"/>
              </a:rPr>
              <a:t>Key Elements</a:t>
            </a:r>
            <a:r>
              <a:rPr lang="en-US" sz="2200">
                <a:ea typeface="Lato"/>
                <a:cs typeface="Lato"/>
              </a:rPr>
              <a:t> </a:t>
            </a:r>
            <a:endParaRPr lang="en-US" sz="2200"/>
          </a:p>
        </p:txBody>
      </p:sp>
      <p:pic>
        <p:nvPicPr>
          <p:cNvPr id="6" name="Picture 6" descr="Chart, diagram&#10;&#10;Description automatically generated">
            <a:extLst>
              <a:ext uri="{FF2B5EF4-FFF2-40B4-BE49-F238E27FC236}">
                <a16:creationId xmlns:a16="http://schemas.microsoft.com/office/drawing/2014/main" id="{D63DBE4A-488A-DAF7-29F8-7AD711A8240E}"/>
              </a:ext>
            </a:extLst>
          </p:cNvPr>
          <p:cNvPicPr>
            <a:picLocks noChangeAspect="1"/>
          </p:cNvPicPr>
          <p:nvPr/>
        </p:nvPicPr>
        <p:blipFill>
          <a:blip r:embed="rId4"/>
          <a:stretch>
            <a:fillRect/>
          </a:stretch>
        </p:blipFill>
        <p:spPr>
          <a:xfrm>
            <a:off x="4149976" y="36576"/>
            <a:ext cx="7912360" cy="6784848"/>
          </a:xfrm>
          <a:prstGeom prst="rect">
            <a:avLst/>
          </a:prstGeom>
        </p:spPr>
      </p:pic>
      <p:sp>
        <p:nvSpPr>
          <p:cNvPr id="5" name="Footer Placeholder 4">
            <a:extLst>
              <a:ext uri="{FF2B5EF4-FFF2-40B4-BE49-F238E27FC236}">
                <a16:creationId xmlns:a16="http://schemas.microsoft.com/office/drawing/2014/main" id="{1AB34E06-4F27-7BE8-9C93-E943F058F66B}"/>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3AEE9803-BD19-B024-63E9-195C6B613060}"/>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43</a:t>
            </a:fld>
            <a:endParaRPr lang="en-US"/>
          </a:p>
        </p:txBody>
      </p:sp>
    </p:spTree>
    <p:extLst>
      <p:ext uri="{BB962C8B-B14F-4D97-AF65-F5344CB8AC3E}">
        <p14:creationId xmlns:p14="http://schemas.microsoft.com/office/powerpoint/2010/main" val="35330337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7DA33E23-48FB-E74C-905E-B9999CE33800}"/>
              </a:ext>
            </a:extLst>
          </p:cNvPr>
          <p:cNvSpPr txBox="1">
            <a:spLocks/>
          </p:cNvSpPr>
          <p:nvPr/>
        </p:nvSpPr>
        <p:spPr bwMode="auto">
          <a:xfrm>
            <a:off x="394090" y="53125"/>
            <a:ext cx="6262861"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defRPr/>
            </a:pPr>
            <a:r>
              <a:rPr lang="en-US" sz="3600" b="1" dirty="0">
                <a:solidFill>
                  <a:schemeClr val="accent1"/>
                </a:solidFill>
                <a:latin typeface="+mn-lt"/>
              </a:rPr>
              <a:t>Patient-Centered Decision Making</a:t>
            </a: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13842" y="1297957"/>
            <a:ext cx="4023358" cy="5328047"/>
          </a:xfrm>
          <a:prstGeom prst="rect">
            <a:avLst/>
          </a:prstGeom>
          <a:ln w="38100">
            <a:solidFill>
              <a:schemeClr val="tx1"/>
            </a:solidFill>
          </a:ln>
        </p:spPr>
      </p:pic>
      <p:pic>
        <p:nvPicPr>
          <p:cNvPr id="4" name="Picture 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32487" y="0"/>
            <a:ext cx="5659513" cy="6858000"/>
          </a:xfrm>
          <a:prstGeom prst="rect">
            <a:avLst/>
          </a:prstGeom>
          <a:ln w="38100">
            <a:solidFill>
              <a:schemeClr val="tx1"/>
            </a:solidFill>
          </a:ln>
        </p:spPr>
      </p:pic>
      <p:sp>
        <p:nvSpPr>
          <p:cNvPr id="5" name="Rounded Rectangle 4"/>
          <p:cNvSpPr/>
          <p:nvPr/>
        </p:nvSpPr>
        <p:spPr>
          <a:xfrm>
            <a:off x="6238043" y="2362200"/>
            <a:ext cx="3124200" cy="1066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MQCC Patient education guidelines: the SHARE Model </a:t>
            </a:r>
          </a:p>
        </p:txBody>
      </p:sp>
    </p:spTree>
    <p:extLst>
      <p:ext uri="{BB962C8B-B14F-4D97-AF65-F5344CB8AC3E}">
        <p14:creationId xmlns:p14="http://schemas.microsoft.com/office/powerpoint/2010/main" val="29703179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A38219F-B8F1-17BA-58D5-937606692738}"/>
              </a:ext>
            </a:extLst>
          </p:cNvPr>
          <p:cNvSpPr>
            <a:spLocks noGrp="1"/>
          </p:cNvSpPr>
          <p:nvPr>
            <p:ph type="title"/>
          </p:nvPr>
        </p:nvSpPr>
        <p:spPr>
          <a:xfrm>
            <a:off x="313436" y="640080"/>
            <a:ext cx="4818888" cy="1481328"/>
          </a:xfrm>
        </p:spPr>
        <p:txBody>
          <a:bodyPr anchor="b">
            <a:normAutofit/>
          </a:bodyPr>
          <a:lstStyle/>
          <a:p>
            <a:pPr>
              <a:lnSpc>
                <a:spcPct val="90000"/>
              </a:lnSpc>
            </a:pPr>
            <a:r>
              <a:rPr lang="en-US" sz="5000" dirty="0">
                <a:ea typeface="Lato Medium"/>
                <a:cs typeface="Lato Medium"/>
              </a:rPr>
              <a:t>AHRQ SHARE Approach</a:t>
            </a:r>
            <a:endParaRPr lang="en-US" sz="5000" dirty="0"/>
          </a:p>
        </p:txBody>
      </p:sp>
      <p:sp>
        <p:nvSpPr>
          <p:cNvPr id="13"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46116AB-1620-7832-0670-E0885CD204D7}"/>
              </a:ext>
            </a:extLst>
          </p:cNvPr>
          <p:cNvSpPr>
            <a:spLocks noGrp="1"/>
          </p:cNvSpPr>
          <p:nvPr>
            <p:ph idx="1"/>
          </p:nvPr>
        </p:nvSpPr>
        <p:spPr>
          <a:xfrm>
            <a:off x="478536" y="2761488"/>
            <a:ext cx="4818888" cy="3547872"/>
          </a:xfrm>
        </p:spPr>
        <p:txBody>
          <a:bodyPr vert="horz" lIns="91440" tIns="45720" rIns="91440" bIns="45720" rtlCol="0" anchor="t">
            <a:normAutofit/>
          </a:bodyPr>
          <a:lstStyle/>
          <a:p>
            <a:r>
              <a:rPr lang="en-US" sz="2200">
                <a:ea typeface="Lato"/>
                <a:cs typeface="Lato"/>
                <a:hlinkClick r:id="rId2"/>
              </a:rPr>
              <a:t>SHARE Poster for Providers</a:t>
            </a:r>
            <a:endParaRPr lang="en-US" sz="2200"/>
          </a:p>
          <a:p>
            <a:r>
              <a:rPr lang="en-US" sz="2200">
                <a:ea typeface="Lato"/>
                <a:cs typeface="Lato"/>
                <a:hlinkClick r:id="rId3"/>
              </a:rPr>
              <a:t>SHARE Poster for Patients</a:t>
            </a:r>
            <a:endParaRPr lang="en-US" sz="2200"/>
          </a:p>
        </p:txBody>
      </p:sp>
      <p:pic>
        <p:nvPicPr>
          <p:cNvPr id="6" name="Picture 6" descr="Text, timeline&#10;&#10;Description automatically generated">
            <a:extLst>
              <a:ext uri="{FF2B5EF4-FFF2-40B4-BE49-F238E27FC236}">
                <a16:creationId xmlns:a16="http://schemas.microsoft.com/office/drawing/2014/main" id="{6334403B-5CD3-8E57-E768-59737ECCC2FC}"/>
              </a:ext>
            </a:extLst>
          </p:cNvPr>
          <p:cNvPicPr>
            <a:picLocks noChangeAspect="1"/>
          </p:cNvPicPr>
          <p:nvPr/>
        </p:nvPicPr>
        <p:blipFill>
          <a:blip r:embed="rId4"/>
          <a:stretch>
            <a:fillRect/>
          </a:stretch>
        </p:blipFill>
        <p:spPr>
          <a:xfrm>
            <a:off x="4006120" y="55867"/>
            <a:ext cx="8207333" cy="6360681"/>
          </a:xfrm>
          <a:prstGeom prst="rect">
            <a:avLst/>
          </a:prstGeom>
        </p:spPr>
      </p:pic>
      <p:sp>
        <p:nvSpPr>
          <p:cNvPr id="5" name="Footer Placeholder 4">
            <a:extLst>
              <a:ext uri="{FF2B5EF4-FFF2-40B4-BE49-F238E27FC236}">
                <a16:creationId xmlns:a16="http://schemas.microsoft.com/office/drawing/2014/main" id="{0EDD9DFE-71F6-8DEA-7927-A85CEDA926DB}"/>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A26D1CE3-64BB-C095-F6F2-A6B8A1B7384D}"/>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45</a:t>
            </a:fld>
            <a:endParaRPr lang="en-US"/>
          </a:p>
        </p:txBody>
      </p:sp>
    </p:spTree>
    <p:extLst>
      <p:ext uri="{BB962C8B-B14F-4D97-AF65-F5344CB8AC3E}">
        <p14:creationId xmlns:p14="http://schemas.microsoft.com/office/powerpoint/2010/main" val="25175772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3BAEA7A-83D1-AF65-1F72-07706D5A7224}"/>
              </a:ext>
            </a:extLst>
          </p:cNvPr>
          <p:cNvSpPr>
            <a:spLocks noGrp="1"/>
          </p:cNvSpPr>
          <p:nvPr>
            <p:ph type="title"/>
          </p:nvPr>
        </p:nvSpPr>
        <p:spPr>
          <a:xfrm>
            <a:off x="630936" y="640080"/>
            <a:ext cx="4818888" cy="1481328"/>
          </a:xfrm>
        </p:spPr>
        <p:txBody>
          <a:bodyPr anchor="b">
            <a:normAutofit/>
          </a:bodyPr>
          <a:lstStyle/>
          <a:p>
            <a:pPr>
              <a:lnSpc>
                <a:spcPct val="90000"/>
              </a:lnSpc>
            </a:pPr>
            <a:r>
              <a:rPr lang="en-US" sz="3400">
                <a:ea typeface="Lato Medium"/>
                <a:cs typeface="Lato Medium"/>
              </a:rPr>
              <a:t>Sparrow Health Labor Partnership Agreement</a:t>
            </a:r>
            <a:endParaRPr lang="en-US" sz="3400"/>
          </a:p>
        </p:txBody>
      </p:sp>
      <p:sp>
        <p:nvSpPr>
          <p:cNvPr id="15"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A20EF984-F976-C8F3-F801-FD9BA09DF1AF}"/>
              </a:ext>
            </a:extLst>
          </p:cNvPr>
          <p:cNvSpPr>
            <a:spLocks noGrp="1"/>
          </p:cNvSpPr>
          <p:nvPr>
            <p:ph idx="1"/>
          </p:nvPr>
        </p:nvSpPr>
        <p:spPr>
          <a:xfrm>
            <a:off x="630936" y="2660904"/>
            <a:ext cx="4818888" cy="3547872"/>
          </a:xfrm>
        </p:spPr>
        <p:txBody>
          <a:bodyPr anchor="t">
            <a:normAutofit/>
          </a:bodyPr>
          <a:lstStyle/>
          <a:p>
            <a:r>
              <a:rPr lang="en-US" sz="2200" dirty="0">
                <a:ea typeface="Lato"/>
                <a:cs typeface="Lato"/>
                <a:hlinkClick r:id="rId2"/>
              </a:rPr>
              <a:t>Labor Partnership Agreement Booklet</a:t>
            </a:r>
            <a:endParaRPr lang="en-US" sz="2200"/>
          </a:p>
          <a:p>
            <a:r>
              <a:rPr lang="en-US" sz="2200" dirty="0">
                <a:ea typeface="Lato"/>
                <a:cs typeface="Lato"/>
                <a:hlinkClick r:id="rId3"/>
              </a:rPr>
              <a:t>Labor Partnership Patient Form</a:t>
            </a:r>
            <a:endParaRPr lang="en-US" sz="2200" dirty="0">
              <a:ea typeface="Lato"/>
              <a:cs typeface="Lato"/>
            </a:endParaRPr>
          </a:p>
        </p:txBody>
      </p:sp>
      <p:pic>
        <p:nvPicPr>
          <p:cNvPr id="6" name="Picture 6" descr="A picture containing text&#10;&#10;Description automatically generated">
            <a:extLst>
              <a:ext uri="{FF2B5EF4-FFF2-40B4-BE49-F238E27FC236}">
                <a16:creationId xmlns:a16="http://schemas.microsoft.com/office/drawing/2014/main" id="{94BBD773-CB2A-BBDF-2B76-CD4ABD64F3DB}"/>
              </a:ext>
            </a:extLst>
          </p:cNvPr>
          <p:cNvPicPr>
            <a:picLocks noChangeAspect="1"/>
          </p:cNvPicPr>
          <p:nvPr/>
        </p:nvPicPr>
        <p:blipFill>
          <a:blip r:embed="rId4"/>
          <a:stretch>
            <a:fillRect/>
          </a:stretch>
        </p:blipFill>
        <p:spPr>
          <a:xfrm>
            <a:off x="7040514" y="640080"/>
            <a:ext cx="3576036" cy="5577840"/>
          </a:xfrm>
          <a:prstGeom prst="rect">
            <a:avLst/>
          </a:prstGeom>
        </p:spPr>
      </p:pic>
      <p:sp>
        <p:nvSpPr>
          <p:cNvPr id="5" name="Footer Placeholder 4">
            <a:extLst>
              <a:ext uri="{FF2B5EF4-FFF2-40B4-BE49-F238E27FC236}">
                <a16:creationId xmlns:a16="http://schemas.microsoft.com/office/drawing/2014/main" id="{52F1D75F-27FE-322A-BD92-47D0D5EE4FFE}"/>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214E5B46-3DCD-65C7-A2C8-EB14991ABA63}"/>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46</a:t>
            </a:fld>
            <a:endParaRPr lang="en-US"/>
          </a:p>
        </p:txBody>
      </p:sp>
    </p:spTree>
    <p:extLst>
      <p:ext uri="{BB962C8B-B14F-4D97-AF65-F5344CB8AC3E}">
        <p14:creationId xmlns:p14="http://schemas.microsoft.com/office/powerpoint/2010/main" val="1774512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352BEC0E-22F8-46D0-9632-375DB541B0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76F01C4-3342-60A2-2C84-64BFEF601D8E}"/>
              </a:ext>
            </a:extLst>
          </p:cNvPr>
          <p:cNvSpPr>
            <a:spLocks noGrp="1"/>
          </p:cNvSpPr>
          <p:nvPr>
            <p:ph type="title"/>
          </p:nvPr>
        </p:nvSpPr>
        <p:spPr>
          <a:xfrm>
            <a:off x="640080" y="329184"/>
            <a:ext cx="6894576" cy="1783080"/>
          </a:xfrm>
        </p:spPr>
        <p:txBody>
          <a:bodyPr anchor="b">
            <a:normAutofit/>
          </a:bodyPr>
          <a:lstStyle/>
          <a:p>
            <a:pPr>
              <a:lnSpc>
                <a:spcPct val="90000"/>
              </a:lnSpc>
            </a:pPr>
            <a:r>
              <a:rPr lang="en-US" sz="3800">
                <a:ea typeface="Lato Medium"/>
                <a:cs typeface="Lato Medium"/>
              </a:rPr>
              <a:t>Ariadne Labs Delivery Decisions Initiative: TeamBirth Labor and Delivery Planning Board </a:t>
            </a:r>
          </a:p>
        </p:txBody>
      </p:sp>
      <p:sp>
        <p:nvSpPr>
          <p:cNvPr id="32" name="sketch line">
            <a:extLst>
              <a:ext uri="{FF2B5EF4-FFF2-40B4-BE49-F238E27FC236}">
                <a16:creationId xmlns:a16="http://schemas.microsoft.com/office/drawing/2014/main" id="{3FCFB1DE-0B7E-48CC-BA90-B2AB0889F9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8952" y="2395728"/>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D723CEB-F56C-B25D-B52F-E22D4B2DC288}"/>
              </a:ext>
            </a:extLst>
          </p:cNvPr>
          <p:cNvSpPr>
            <a:spLocks noGrp="1"/>
          </p:cNvSpPr>
          <p:nvPr>
            <p:ph idx="1"/>
          </p:nvPr>
        </p:nvSpPr>
        <p:spPr>
          <a:xfrm>
            <a:off x="640080" y="2706624"/>
            <a:ext cx="6894576" cy="3483864"/>
          </a:xfrm>
        </p:spPr>
        <p:txBody>
          <a:bodyPr vert="horz" lIns="91440" tIns="45720" rIns="91440" bIns="45720" rtlCol="0">
            <a:normAutofit/>
          </a:bodyPr>
          <a:lstStyle/>
          <a:p>
            <a:pPr marL="0" indent="0">
              <a:buNone/>
            </a:pPr>
            <a:r>
              <a:rPr lang="en-US" sz="2200">
                <a:ea typeface="+mn-lt"/>
                <a:cs typeface="+mn-lt"/>
                <a:hlinkClick r:id="rId2"/>
              </a:rPr>
              <a:t>TeamBirth</a:t>
            </a:r>
            <a:r>
              <a:rPr lang="en-US" sz="2200">
                <a:ea typeface="+mn-lt"/>
                <a:cs typeface="+mn-lt"/>
              </a:rPr>
              <a:t> ensures people giving birth and the clinicians who are caring for them have shared input and understanding into decisions during labor and delivery. </a:t>
            </a:r>
          </a:p>
          <a:p>
            <a:pPr marL="0" indent="0">
              <a:buNone/>
            </a:pPr>
            <a:r>
              <a:rPr lang="en-US" sz="2200">
                <a:ea typeface="Lato"/>
                <a:cs typeface="Calibri"/>
              </a:rPr>
              <a:t>The </a:t>
            </a:r>
            <a:r>
              <a:rPr lang="en-US" sz="2200">
                <a:ea typeface="Lato"/>
                <a:cs typeface="Calibri"/>
                <a:hlinkClick r:id="rId3"/>
              </a:rPr>
              <a:t>Labor and Delivery Planning Board</a:t>
            </a:r>
            <a:r>
              <a:rPr lang="en-US" sz="2200">
                <a:ea typeface="Lato"/>
                <a:cs typeface="Calibri"/>
              </a:rPr>
              <a:t> is a patient-facing whiteboard to be located in L&amp;D rooms to collate shared information from team huddles and act as an ongoing shared reference for all team members, including the parents-to-be.</a:t>
            </a:r>
          </a:p>
        </p:txBody>
      </p:sp>
      <p:pic>
        <p:nvPicPr>
          <p:cNvPr id="7" name="Picture 7">
            <a:extLst>
              <a:ext uri="{FF2B5EF4-FFF2-40B4-BE49-F238E27FC236}">
                <a16:creationId xmlns:a16="http://schemas.microsoft.com/office/drawing/2014/main" id="{B8374432-4DA3-3F0A-AA60-7937EBB38106}"/>
              </a:ext>
            </a:extLst>
          </p:cNvPr>
          <p:cNvPicPr>
            <a:picLocks noChangeAspect="1"/>
          </p:cNvPicPr>
          <p:nvPr/>
        </p:nvPicPr>
        <p:blipFill>
          <a:blip r:embed="rId4"/>
          <a:stretch>
            <a:fillRect/>
          </a:stretch>
        </p:blipFill>
        <p:spPr>
          <a:xfrm>
            <a:off x="7863840" y="642979"/>
            <a:ext cx="4014216" cy="2802376"/>
          </a:xfrm>
          <a:prstGeom prst="rect">
            <a:avLst/>
          </a:prstGeom>
        </p:spPr>
      </p:pic>
      <p:pic>
        <p:nvPicPr>
          <p:cNvPr id="8" name="Picture 8">
            <a:extLst>
              <a:ext uri="{FF2B5EF4-FFF2-40B4-BE49-F238E27FC236}">
                <a16:creationId xmlns:a16="http://schemas.microsoft.com/office/drawing/2014/main" id="{D6E36E5E-6E45-0500-6872-A379819A02F9}"/>
              </a:ext>
            </a:extLst>
          </p:cNvPr>
          <p:cNvPicPr>
            <a:picLocks noChangeAspect="1"/>
          </p:cNvPicPr>
          <p:nvPr/>
        </p:nvPicPr>
        <p:blipFill>
          <a:blip r:embed="rId5"/>
          <a:stretch>
            <a:fillRect/>
          </a:stretch>
        </p:blipFill>
        <p:spPr>
          <a:xfrm>
            <a:off x="7745471" y="3735757"/>
            <a:ext cx="4136073" cy="2551905"/>
          </a:xfrm>
          <a:prstGeom prst="rect">
            <a:avLst/>
          </a:prstGeom>
        </p:spPr>
      </p:pic>
      <p:sp>
        <p:nvSpPr>
          <p:cNvPr id="5" name="Footer Placeholder 4">
            <a:extLst>
              <a:ext uri="{FF2B5EF4-FFF2-40B4-BE49-F238E27FC236}">
                <a16:creationId xmlns:a16="http://schemas.microsoft.com/office/drawing/2014/main" id="{7EE43959-3908-395A-6934-96747AEE228A}"/>
              </a:ext>
            </a:extLst>
          </p:cNvPr>
          <p:cNvSpPr>
            <a:spLocks noGrp="1"/>
          </p:cNvSpPr>
          <p:nvPr>
            <p:ph type="ftr" sz="quarter" idx="11"/>
          </p:nvPr>
        </p:nvSpPr>
        <p:spPr>
          <a:xfrm>
            <a:off x="4038600" y="6356350"/>
            <a:ext cx="4114800" cy="365125"/>
          </a:xfrm>
        </p:spPr>
        <p:txBody>
          <a:bodyP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a:ln>
                  <a:noFill/>
                </a:ln>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DCD813F1-1D4D-F211-E2F4-4AE7D18376C2}"/>
              </a:ext>
            </a:extLst>
          </p:cNvPr>
          <p:cNvSpPr>
            <a:spLocks noGrp="1"/>
          </p:cNvSpPr>
          <p:nvPr>
            <p:ph type="sldNum" sz="quarter" idx="10"/>
          </p:nvPr>
        </p:nvSpPr>
        <p:spPr>
          <a:xfrm>
            <a:off x="8610600" y="6356350"/>
            <a:ext cx="2743200" cy="365125"/>
          </a:xfrm>
        </p:spPr>
        <p:txBody>
          <a:bodyPr>
            <a:normAutofit/>
          </a:bodyPr>
          <a:lstStyle/>
          <a:p>
            <a:pPr marL="0" marR="0" lvl="0" indent="0" defTabSz="914400" rtl="0" eaLnBrk="1" fontAlgn="auto" latinLnBrk="0" hangingPunct="1">
              <a:spcBef>
                <a:spcPts val="0"/>
              </a:spcBef>
              <a:spcAft>
                <a:spcPts val="600"/>
              </a:spcAft>
              <a:buClrTx/>
              <a:buSzTx/>
              <a:buFontTx/>
              <a:buNone/>
              <a:tabLst/>
              <a:defRPr/>
            </a:pPr>
            <a:fld id="{97033E4B-E3EB-3D46-B2D8-3159663620FA}" type="slidenum">
              <a:rPr kumimoji="0" lang="en-US" b="0" i="0" u="none" strike="noStrike" kern="1200" cap="none" spc="0" normalizeH="0" baseline="0" noProof="0" smtClean="0">
                <a:ln>
                  <a:noFill/>
                </a:ln>
                <a:effectLst/>
                <a:uLnTx/>
                <a:uFillTx/>
                <a:latin typeface="Calibri" panose="020F0502020204030204"/>
                <a:ea typeface="+mn-ea"/>
                <a:cs typeface="+mn-cs"/>
              </a:rPr>
              <a:pPr marL="0" marR="0" lvl="0" indent="0" defTabSz="914400" rtl="0" eaLnBrk="1" fontAlgn="auto" latinLnBrk="0" hangingPunct="1">
                <a:spcBef>
                  <a:spcPts val="0"/>
                </a:spcBef>
                <a:spcAft>
                  <a:spcPts val="600"/>
                </a:spcAft>
                <a:buClrTx/>
                <a:buSzTx/>
                <a:buFontTx/>
                <a:buNone/>
                <a:tabLst/>
                <a:defRPr/>
              </a:pPr>
              <a:t>47</a:t>
            </a:fld>
            <a:endParaRPr kumimoji="0" lang="en-US" b="0" i="0" u="none" strike="noStrike" kern="1200" cap="none" spc="0" normalizeH="0" baseline="0" noProof="0">
              <a:ln>
                <a:noFill/>
              </a:ln>
              <a:effectLst/>
              <a:uLnTx/>
              <a:uFillTx/>
              <a:latin typeface="Calibri" panose="020F0502020204030204"/>
              <a:ea typeface="+mn-ea"/>
              <a:cs typeface="+mn-cs"/>
            </a:endParaRPr>
          </a:p>
        </p:txBody>
      </p:sp>
    </p:spTree>
    <p:extLst>
      <p:ext uri="{BB962C8B-B14F-4D97-AF65-F5344CB8AC3E}">
        <p14:creationId xmlns:p14="http://schemas.microsoft.com/office/powerpoint/2010/main" val="41303581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p:txBody>
          <a:bodyPr/>
          <a:lstStyle/>
          <a:p>
            <a:pPr>
              <a:defRPr/>
            </a:pPr>
            <a:fld id="{60569D82-D690-4055-BA0B-71459BE6AA19}" type="slidenum">
              <a:rPr lang="en-US" altLang="en-US" smtClean="0"/>
              <a:pPr>
                <a:defRPr/>
              </a:pPr>
              <a:t>48</a:t>
            </a:fld>
            <a:endParaRPr lang="en-US" altLang="en-US"/>
          </a:p>
        </p:txBody>
      </p:sp>
      <p:sp>
        <p:nvSpPr>
          <p:cNvPr id="7" name="Title 1"/>
          <p:cNvSpPr txBox="1">
            <a:spLocks/>
          </p:cNvSpPr>
          <p:nvPr/>
        </p:nvSpPr>
        <p:spPr>
          <a:xfrm>
            <a:off x="441323" y="152401"/>
            <a:ext cx="7162800" cy="1143000"/>
          </a:xfrm>
          <a:prstGeom prst="rect">
            <a:avLst/>
          </a:prstGeom>
        </p:spPr>
        <p:txBody>
          <a:bodyPr lIns="91440" tIns="45720" rIns="91440" bIns="45720" anchor="t"/>
          <a:lst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kumimoji="1" lang="en-US" sz="4000" b="1" dirty="0">
                <a:solidFill>
                  <a:schemeClr val="accent1"/>
                </a:solidFill>
                <a:latin typeface="+mn-lt"/>
                <a:ea typeface="MS PGothic"/>
                <a:cs typeface="Goudy Old Style"/>
              </a:rPr>
              <a:t>Additional Patient Education Resources</a:t>
            </a:r>
          </a:p>
        </p:txBody>
      </p:sp>
      <p:sp>
        <p:nvSpPr>
          <p:cNvPr id="3" name="Rectangle 2"/>
          <p:cNvSpPr/>
          <p:nvPr/>
        </p:nvSpPr>
        <p:spPr>
          <a:xfrm>
            <a:off x="454785" y="1829893"/>
            <a:ext cx="3658849" cy="2523768"/>
          </a:xfrm>
          <a:prstGeom prst="rect">
            <a:avLst/>
          </a:prstGeom>
        </p:spPr>
        <p:txBody>
          <a:bodyPr wrap="square">
            <a:spAutoFit/>
          </a:bodyPr>
          <a:lstStyle/>
          <a:p>
            <a:pPr>
              <a:buFont typeface="Arial" panose="020B0604020202020204" pitchFamily="34" charset="0"/>
              <a:buChar char="•"/>
            </a:pPr>
            <a:endParaRPr lang="en-US" dirty="0">
              <a:solidFill>
                <a:srgbClr val="79818A"/>
              </a:solidFill>
              <a:latin typeface="Lato"/>
            </a:endParaRPr>
          </a:p>
          <a:p>
            <a:pPr>
              <a:buClr>
                <a:schemeClr val="accent2"/>
              </a:buClr>
              <a:buFont typeface="Arial" panose="020B0604020202020204" pitchFamily="34" charset="0"/>
              <a:buChar char="•"/>
            </a:pPr>
            <a:r>
              <a:rPr lang="en-US" sz="2800" dirty="0">
                <a:solidFill>
                  <a:srgbClr val="6B95FD"/>
                </a:solidFill>
                <a:latin typeface="Lato"/>
                <a:hlinkClick r:id="rId3"/>
              </a:rPr>
              <a:t>ACNM Am I in Labor?</a:t>
            </a:r>
            <a:r>
              <a:rPr lang="en-US" sz="2800" dirty="0">
                <a:solidFill>
                  <a:srgbClr val="79818A"/>
                </a:solidFill>
                <a:latin typeface="Lato"/>
              </a:rPr>
              <a:t> </a:t>
            </a:r>
          </a:p>
          <a:p>
            <a:pPr>
              <a:buClr>
                <a:schemeClr val="accent2"/>
              </a:buClr>
              <a:buFont typeface="Arial" panose="020B0604020202020204" pitchFamily="34" charset="0"/>
              <a:buChar char="•"/>
            </a:pPr>
            <a:r>
              <a:rPr lang="en-US" sz="2800" u="sng" dirty="0">
                <a:solidFill>
                  <a:srgbClr val="6B95FD"/>
                </a:solidFill>
                <a:latin typeface="Lato"/>
              </a:rPr>
              <a:t>My Birth Matters</a:t>
            </a:r>
            <a:r>
              <a:rPr lang="en-US" sz="2800" u="sng" dirty="0">
                <a:solidFill>
                  <a:srgbClr val="79818A"/>
                </a:solidFill>
                <a:latin typeface="Lato"/>
              </a:rPr>
              <a:t> </a:t>
            </a:r>
          </a:p>
          <a:p>
            <a:pPr>
              <a:buClr>
                <a:schemeClr val="accent2"/>
              </a:buClr>
              <a:buFont typeface="Arial" panose="020B0604020202020204" pitchFamily="34" charset="0"/>
              <a:buChar char="•"/>
            </a:pPr>
            <a:r>
              <a:rPr lang="en-US" sz="2800" dirty="0">
                <a:solidFill>
                  <a:srgbClr val="6B95FD"/>
                </a:solidFill>
                <a:latin typeface="Lato"/>
                <a:hlinkClick r:id="rId4"/>
              </a:rPr>
              <a:t>Lamaze Keep Calm and Labor On</a:t>
            </a:r>
            <a:endParaRPr lang="en-US" sz="2800" b="0" i="0" u="sng" dirty="0">
              <a:solidFill>
                <a:srgbClr val="79818A"/>
              </a:solidFill>
              <a:effectLst/>
              <a:latin typeface="Lato"/>
            </a:endParaRPr>
          </a:p>
        </p:txBody>
      </p:sp>
      <p:pic>
        <p:nvPicPr>
          <p:cNvPr id="6" name="Picture 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97918" y="1077036"/>
            <a:ext cx="3618785" cy="4891257"/>
          </a:xfrm>
          <a:prstGeom prst="rect">
            <a:avLst/>
          </a:prstGeom>
          <a:ln w="38100">
            <a:solidFill>
              <a:schemeClr val="accent1"/>
            </a:solidFill>
          </a:ln>
        </p:spPr>
      </p:pic>
      <p:pic>
        <p:nvPicPr>
          <p:cNvPr id="8" name="Picture 7"/>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508325" y="2149294"/>
            <a:ext cx="3864361" cy="4271911"/>
          </a:xfrm>
          <a:prstGeom prst="rect">
            <a:avLst/>
          </a:prstGeom>
          <a:ln w="38100">
            <a:solidFill>
              <a:schemeClr val="accent1"/>
            </a:solidFill>
          </a:ln>
        </p:spPr>
      </p:pic>
      <p:pic>
        <p:nvPicPr>
          <p:cNvPr id="9" name="Picture 8">
            <a:extLst>
              <a:ext uri="{FF2B5EF4-FFF2-40B4-BE49-F238E27FC236}">
                <a16:creationId xmlns:a16="http://schemas.microsoft.com/office/drawing/2014/main" id="{CEF16CD3-A37C-4647-9E41-BE3B94B644A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440506" y="1529948"/>
            <a:ext cx="3725839" cy="4826402"/>
          </a:xfrm>
          <a:prstGeom prst="rect">
            <a:avLst/>
          </a:prstGeom>
          <a:ln w="38100" cap="sq">
            <a:solidFill>
              <a:schemeClr val="accent1"/>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94776520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12">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14">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16">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5" name="Freeform: Shape 18">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6" name="Rectangle 20">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E7BFC7C-B149-4A7C-C03A-B46DF5550103}"/>
              </a:ext>
            </a:extLst>
          </p:cNvPr>
          <p:cNvSpPr>
            <a:spLocks noGrp="1"/>
          </p:cNvSpPr>
          <p:nvPr>
            <p:ph type="title"/>
          </p:nvPr>
        </p:nvSpPr>
        <p:spPr>
          <a:xfrm>
            <a:off x="813853" y="1378369"/>
            <a:ext cx="2971492" cy="3374020"/>
          </a:xfrm>
        </p:spPr>
        <p:txBody>
          <a:bodyPr anchor="b">
            <a:normAutofit/>
          </a:bodyPr>
          <a:lstStyle/>
          <a:p>
            <a:pPr>
              <a:lnSpc>
                <a:spcPct val="90000"/>
              </a:lnSpc>
            </a:pPr>
            <a:br>
              <a:rPr lang="en-US" sz="3100" dirty="0">
                <a:solidFill>
                  <a:srgbClr val="FFFFFF"/>
                </a:solidFill>
                <a:ea typeface="Lato Medium"/>
                <a:cs typeface="Lato Medium"/>
              </a:rPr>
            </a:br>
            <a:r>
              <a:rPr lang="en-US" sz="4400" dirty="0">
                <a:solidFill>
                  <a:srgbClr val="FFFFFF"/>
                </a:solidFill>
                <a:ea typeface="Lato Medium"/>
                <a:cs typeface="Lato Medium"/>
              </a:rPr>
              <a:t>Other Respectful Care Resources</a:t>
            </a:r>
            <a:endParaRPr lang="en-US" sz="4400" dirty="0">
              <a:solidFill>
                <a:srgbClr val="FFFFFF"/>
              </a:solidFill>
            </a:endParaRPr>
          </a:p>
        </p:txBody>
      </p:sp>
      <p:sp>
        <p:nvSpPr>
          <p:cNvPr id="5" name="Footer Placeholder 4">
            <a:extLst>
              <a:ext uri="{FF2B5EF4-FFF2-40B4-BE49-F238E27FC236}">
                <a16:creationId xmlns:a16="http://schemas.microsoft.com/office/drawing/2014/main" id="{A71268A8-79E4-197F-D542-6C1DCC898FD8}"/>
              </a:ext>
            </a:extLst>
          </p:cNvPr>
          <p:cNvSpPr>
            <a:spLocks noGrp="1"/>
          </p:cNvSpPr>
          <p:nvPr>
            <p:ph type="ftr" sz="quarter" idx="11"/>
          </p:nvPr>
        </p:nvSpPr>
        <p:spPr>
          <a:xfrm rot="5400000">
            <a:off x="-1828800" y="1984248"/>
            <a:ext cx="4114800" cy="36512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F463FF8F-A7BE-88B7-F33E-8D402BC965DD}"/>
              </a:ext>
            </a:extLst>
          </p:cNvPr>
          <p:cNvSpPr>
            <a:spLocks noGrp="1"/>
          </p:cNvSpPr>
          <p:nvPr>
            <p:ph type="sldNum" sz="quarter" idx="10"/>
          </p:nvPr>
        </p:nvSpPr>
        <p:spPr>
          <a:xfrm>
            <a:off x="11704320" y="6455664"/>
            <a:ext cx="448056"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49</a:t>
            </a:fld>
            <a:endPar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endParaRPr>
          </a:p>
        </p:txBody>
      </p:sp>
      <p:graphicFrame>
        <p:nvGraphicFramePr>
          <p:cNvPr id="37" name="Content Placeholder 2">
            <a:extLst>
              <a:ext uri="{FF2B5EF4-FFF2-40B4-BE49-F238E27FC236}">
                <a16:creationId xmlns:a16="http://schemas.microsoft.com/office/drawing/2014/main" id="{2CC371E4-F656-DA0F-E4AE-BE852EC8A042}"/>
              </a:ext>
            </a:extLst>
          </p:cNvPr>
          <p:cNvGraphicFramePr>
            <a:graphicFrameLocks noGrp="1"/>
          </p:cNvGraphicFramePr>
          <p:nvPr>
            <p:ph idx="1"/>
            <p:extLst>
              <p:ext uri="{D42A27DB-BD31-4B8C-83A1-F6EECF244321}">
                <p14:modId xmlns:p14="http://schemas.microsoft.com/office/powerpoint/2010/main" val="2432580689"/>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39741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6" descr="A picture containing text, book, vector graphics&#10;&#10;Description automatically generated">
            <a:extLst>
              <a:ext uri="{FF2B5EF4-FFF2-40B4-BE49-F238E27FC236}">
                <a16:creationId xmlns:a16="http://schemas.microsoft.com/office/drawing/2014/main" id="{257F7A56-7596-0EA0-62B4-6E14ECE14B94}"/>
              </a:ext>
            </a:extLst>
          </p:cNvPr>
          <p:cNvPicPr>
            <a:picLocks noChangeAspect="1"/>
          </p:cNvPicPr>
          <p:nvPr/>
        </p:nvPicPr>
        <p:blipFill rotWithShape="1">
          <a:blip r:embed="rId2"/>
          <a:srcRect l="10386" r="19115"/>
          <a:stretch/>
        </p:blipFill>
        <p:spPr>
          <a:xfrm>
            <a:off x="2522356" y="10"/>
            <a:ext cx="9669642" cy="6857990"/>
          </a:xfrm>
          <a:prstGeom prst="rect">
            <a:avLst/>
          </a:prstGeom>
        </p:spPr>
      </p:pic>
      <p:sp>
        <p:nvSpPr>
          <p:cNvPr id="24" name="Rectangle 23">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0A4E6C3-8987-D5B6-6218-7D07429A5A07}"/>
              </a:ext>
            </a:extLst>
          </p:cNvPr>
          <p:cNvSpPr>
            <a:spLocks noGrp="1"/>
          </p:cNvSpPr>
          <p:nvPr>
            <p:ph type="title"/>
          </p:nvPr>
        </p:nvSpPr>
        <p:spPr>
          <a:xfrm>
            <a:off x="292570" y="393347"/>
            <a:ext cx="4687670" cy="1899912"/>
          </a:xfrm>
        </p:spPr>
        <p:txBody>
          <a:bodyPr vert="horz" lIns="91440" tIns="45720" rIns="91440" bIns="45720" rtlCol="0">
            <a:normAutofit fontScale="90000"/>
          </a:bodyPr>
          <a:lstStyle/>
          <a:p>
            <a:r>
              <a:rPr lang="en-US" sz="4400" dirty="0">
                <a:ea typeface="+mj-ea"/>
                <a:cs typeface="+mj-cs"/>
              </a:rPr>
              <a:t>Watch Birthing Justice: FREE on PBS!</a:t>
            </a:r>
          </a:p>
        </p:txBody>
      </p:sp>
      <p:sp>
        <p:nvSpPr>
          <p:cNvPr id="3" name="Content Placeholder 2">
            <a:extLst>
              <a:ext uri="{FF2B5EF4-FFF2-40B4-BE49-F238E27FC236}">
                <a16:creationId xmlns:a16="http://schemas.microsoft.com/office/drawing/2014/main" id="{2AC3F822-2CC1-70A8-EF41-558AF205125A}"/>
              </a:ext>
            </a:extLst>
          </p:cNvPr>
          <p:cNvSpPr>
            <a:spLocks noGrp="1"/>
          </p:cNvSpPr>
          <p:nvPr>
            <p:ph idx="1"/>
          </p:nvPr>
        </p:nvSpPr>
        <p:spPr>
          <a:xfrm>
            <a:off x="838200" y="2434201"/>
            <a:ext cx="3135449" cy="3742762"/>
          </a:xfrm>
        </p:spPr>
        <p:txBody>
          <a:bodyPr vert="horz" lIns="91440" tIns="45720" rIns="91440" bIns="45720" rtlCol="0" anchor="t">
            <a:normAutofit/>
          </a:bodyPr>
          <a:lstStyle/>
          <a:p>
            <a:pPr marL="0" indent="0">
              <a:buNone/>
            </a:pPr>
            <a:r>
              <a:rPr lang="en-US" sz="2800" dirty="0">
                <a:ea typeface="+mn-ea"/>
                <a:cs typeface="+mn-cs"/>
                <a:hlinkClick r:id="rId3"/>
              </a:rPr>
              <a:t>Linked Here</a:t>
            </a:r>
            <a:endParaRPr lang="en-US">
              <a:ea typeface="+mn-ea"/>
            </a:endParaRPr>
          </a:p>
          <a:p>
            <a:pPr marL="0" indent="0">
              <a:buNone/>
            </a:pPr>
            <a:r>
              <a:rPr lang="en-US" sz="2800" dirty="0">
                <a:ea typeface="+mn-ea"/>
                <a:cs typeface="Calibri"/>
              </a:rPr>
              <a:t>Watch with your team and explore the </a:t>
            </a:r>
            <a:r>
              <a:rPr lang="en-US" sz="2800" dirty="0">
                <a:ea typeface="+mn-ea"/>
                <a:cs typeface="Calibri"/>
                <a:hlinkClick r:id="rId4"/>
              </a:rPr>
              <a:t>Birthing Justice Discussion Guide</a:t>
            </a:r>
            <a:r>
              <a:rPr lang="en-US" sz="2800" dirty="0">
                <a:ea typeface="+mn-ea"/>
                <a:cs typeface="Calibri"/>
              </a:rPr>
              <a:t>!</a:t>
            </a:r>
            <a:endParaRPr lang="en-US" sz="2800">
              <a:ea typeface="+mn-ea"/>
              <a:cs typeface="Calibri"/>
            </a:endParaRPr>
          </a:p>
        </p:txBody>
      </p:sp>
      <p:sp>
        <p:nvSpPr>
          <p:cNvPr id="5" name="Footer Placeholder 4">
            <a:extLst>
              <a:ext uri="{FF2B5EF4-FFF2-40B4-BE49-F238E27FC236}">
                <a16:creationId xmlns:a16="http://schemas.microsoft.com/office/drawing/2014/main" id="{F14ABC76-4D39-F604-C5BB-31CB5C011E9F}"/>
              </a:ext>
            </a:extLst>
          </p:cNvPr>
          <p:cNvSpPr>
            <a:spLocks noGrp="1"/>
          </p:cNvSpPr>
          <p:nvPr>
            <p:ph type="ftr" sz="quarter" idx="11"/>
          </p:nvPr>
        </p:nvSpPr>
        <p:spPr>
          <a:xfrm>
            <a:off x="4038600" y="6356350"/>
            <a:ext cx="4114800" cy="365125"/>
          </a:xfrm>
        </p:spPr>
        <p:txBody>
          <a:bodyPr vert="horz" lIns="91440" tIns="45720" rIns="91440" bIns="45720" rtlCol="0">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07494A73-5A56-8C5B-68D7-F8ACBFDF3E37}"/>
              </a:ext>
            </a:extLst>
          </p:cNvPr>
          <p:cNvSpPr>
            <a:spLocks noGrp="1"/>
          </p:cNvSpPr>
          <p:nvPr>
            <p:ph type="sldNum" sz="quarter" idx="10"/>
          </p:nvPr>
        </p:nvSpPr>
        <p:spPr>
          <a:xfrm>
            <a:off x="8610600" y="6356350"/>
            <a:ext cx="2743200" cy="365125"/>
          </a:xfrm>
        </p:spPr>
        <p:txBody>
          <a:bodyPr vert="horz" lIns="91440" tIns="45720" rIns="91440" bIns="45720" rtlCol="0">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50240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text, application&#10;&#10;Description automatically generated">
            <a:extLst>
              <a:ext uri="{FF2B5EF4-FFF2-40B4-BE49-F238E27FC236}">
                <a16:creationId xmlns:a16="http://schemas.microsoft.com/office/drawing/2014/main" id="{D2D10EA4-36D1-BCFD-3B2A-38B1E755AC92}"/>
              </a:ext>
            </a:extLst>
          </p:cNvPr>
          <p:cNvPicPr>
            <a:picLocks noGrp="1" noChangeAspect="1"/>
          </p:cNvPicPr>
          <p:nvPr>
            <p:ph idx="1"/>
          </p:nvPr>
        </p:nvPicPr>
        <p:blipFill>
          <a:blip r:embed="rId3"/>
          <a:stretch>
            <a:fillRect/>
          </a:stretch>
        </p:blipFill>
        <p:spPr>
          <a:xfrm>
            <a:off x="3101937" y="1876937"/>
            <a:ext cx="8727684" cy="4351338"/>
          </a:xfrm>
        </p:spPr>
      </p:pic>
      <p:sp>
        <p:nvSpPr>
          <p:cNvPr id="2" name="Title 1">
            <a:extLst>
              <a:ext uri="{FF2B5EF4-FFF2-40B4-BE49-F238E27FC236}">
                <a16:creationId xmlns:a16="http://schemas.microsoft.com/office/drawing/2014/main" id="{65558CF8-7326-9ECC-AE06-A7ECADE714BE}"/>
              </a:ext>
            </a:extLst>
          </p:cNvPr>
          <p:cNvSpPr>
            <a:spLocks noGrp="1"/>
          </p:cNvSpPr>
          <p:nvPr>
            <p:ph type="title"/>
          </p:nvPr>
        </p:nvSpPr>
        <p:spPr>
          <a:xfrm>
            <a:off x="200991" y="-4296"/>
            <a:ext cx="11888695" cy="1597018"/>
          </a:xfrm>
          <a:solidFill>
            <a:schemeClr val="accent1"/>
          </a:solidFill>
        </p:spPr>
        <p:txBody>
          <a:bodyPr/>
          <a:lstStyle/>
          <a:p>
            <a:r>
              <a:rPr lang="en-US" sz="3200">
                <a:solidFill>
                  <a:schemeClr val="bg1"/>
                </a:solidFill>
                <a:ea typeface="Lato Medium"/>
                <a:cs typeface="Lato Medium"/>
              </a:rPr>
              <a:t>ILPQC-Sponsored – </a:t>
            </a:r>
            <a:r>
              <a:rPr lang="en-US" sz="2800">
                <a:solidFill>
                  <a:schemeClr val="bg1"/>
                </a:solidFill>
                <a:ea typeface="Lato Medium"/>
                <a:cs typeface="Lato Medium"/>
              </a:rPr>
              <a:t>FREE AWHONN Resource for your Respectful Care work: </a:t>
            </a:r>
            <a:br>
              <a:rPr lang="en-US" sz="3200">
                <a:ea typeface="Lato Medium"/>
                <a:cs typeface="Lato Medium"/>
              </a:rPr>
            </a:br>
            <a:r>
              <a:rPr lang="en-US" sz="2800" b="0">
                <a:solidFill>
                  <a:schemeClr val="bg1"/>
                </a:solidFill>
                <a:ea typeface="+mj-lt"/>
                <a:cs typeface="+mj-lt"/>
              </a:rPr>
              <a:t>Respectful Maternity Care Guideline  (RMC-EBG) &amp; </a:t>
            </a:r>
            <a:br>
              <a:rPr lang="en-US" sz="2800" b="0">
                <a:solidFill>
                  <a:schemeClr val="bg1"/>
                </a:solidFill>
                <a:ea typeface="+mj-lt"/>
                <a:cs typeface="+mj-lt"/>
              </a:rPr>
            </a:br>
            <a:r>
              <a:rPr lang="en-US" sz="2800" b="0">
                <a:solidFill>
                  <a:schemeClr val="bg1"/>
                </a:solidFill>
                <a:ea typeface="+mj-lt"/>
                <a:cs typeface="+mj-lt"/>
              </a:rPr>
              <a:t>Implementation Toolkit (RMC-IT)</a:t>
            </a:r>
            <a:endParaRPr lang="en-US" sz="2800">
              <a:solidFill>
                <a:schemeClr val="bg1"/>
              </a:solidFill>
            </a:endParaRPr>
          </a:p>
        </p:txBody>
      </p:sp>
      <p:sp>
        <p:nvSpPr>
          <p:cNvPr id="4" name="Slide Number Placeholder 3">
            <a:extLst>
              <a:ext uri="{FF2B5EF4-FFF2-40B4-BE49-F238E27FC236}">
                <a16:creationId xmlns:a16="http://schemas.microsoft.com/office/drawing/2014/main" id="{5B4899B6-15C8-5A5C-A74F-6CE4CEA4531B}"/>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287AE37-521D-384D-7F6E-D82763B1B77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8" name="Rectangle: Rounded Corners 7">
            <a:extLst>
              <a:ext uri="{FF2B5EF4-FFF2-40B4-BE49-F238E27FC236}">
                <a16:creationId xmlns:a16="http://schemas.microsoft.com/office/drawing/2014/main" id="{0F10777B-F3DD-90CA-8886-230C125ACE96}"/>
              </a:ext>
            </a:extLst>
          </p:cNvPr>
          <p:cNvSpPr/>
          <p:nvPr/>
        </p:nvSpPr>
        <p:spPr>
          <a:xfrm>
            <a:off x="257340" y="1487680"/>
            <a:ext cx="2700166" cy="5242632"/>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ILPQC is providing access to </a:t>
            </a:r>
            <a:endParaRPr kumimoji="0" lang="en-US" sz="18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1) AWHONN Respectful Maternity Care Framework and Evidence-Based Guideline &amp; Toolkit for each BE Team.</a:t>
            </a:r>
            <a:endParaRPr kumimoji="0" lang="en-US" sz="18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A $74.95 val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1C498B"/>
                </a:solidFill>
                <a:effectLst/>
                <a:uLnTx/>
                <a:uFillTx/>
                <a:latin typeface="Calibri" panose="020F0502020204030204"/>
                <a:ea typeface="+mn-ea"/>
                <a:cs typeface="Calibri"/>
              </a:rPr>
              <a:t>Team leads – check your email to learn more information!</a:t>
            </a:r>
          </a:p>
        </p:txBody>
      </p:sp>
      <p:pic>
        <p:nvPicPr>
          <p:cNvPr id="9" name="Picture 9" descr="A picture containing icon&#10;&#10;Description automatically generated">
            <a:extLst>
              <a:ext uri="{FF2B5EF4-FFF2-40B4-BE49-F238E27FC236}">
                <a16:creationId xmlns:a16="http://schemas.microsoft.com/office/drawing/2014/main" id="{1D5DE58A-38CB-633A-B4D3-BE37ACB4A827}"/>
              </a:ext>
            </a:extLst>
          </p:cNvPr>
          <p:cNvPicPr>
            <a:picLocks noChangeAspect="1"/>
          </p:cNvPicPr>
          <p:nvPr/>
        </p:nvPicPr>
        <p:blipFill>
          <a:blip r:embed="rId4"/>
          <a:stretch>
            <a:fillRect/>
          </a:stretch>
        </p:blipFill>
        <p:spPr>
          <a:xfrm>
            <a:off x="9603658" y="1814207"/>
            <a:ext cx="2165555" cy="1066489"/>
          </a:xfrm>
          <a:prstGeom prst="rect">
            <a:avLst/>
          </a:prstGeom>
        </p:spPr>
      </p:pic>
    </p:spTree>
    <p:extLst>
      <p:ext uri="{BB962C8B-B14F-4D97-AF65-F5344CB8AC3E}">
        <p14:creationId xmlns:p14="http://schemas.microsoft.com/office/powerpoint/2010/main" val="16916721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B23BE-B46A-FFD3-E0CF-AD81542F620E}"/>
              </a:ext>
            </a:extLst>
          </p:cNvPr>
          <p:cNvSpPr>
            <a:spLocks noGrp="1"/>
          </p:cNvSpPr>
          <p:nvPr>
            <p:ph type="title"/>
          </p:nvPr>
        </p:nvSpPr>
        <p:spPr>
          <a:xfrm>
            <a:off x="609600" y="365125"/>
            <a:ext cx="10972800" cy="1975137"/>
          </a:xfrm>
        </p:spPr>
        <p:txBody>
          <a:bodyPr/>
          <a:lstStyle/>
          <a:p>
            <a:r>
              <a:rPr lang="en-US">
                <a:ea typeface="+mj-lt"/>
                <a:cs typeface="+mj-lt"/>
              </a:rPr>
              <a:t>*FREE* ACOG Respectful Care </a:t>
            </a:r>
            <a:r>
              <a:rPr lang="en-US" err="1">
                <a:ea typeface="+mj-lt"/>
                <a:cs typeface="+mj-lt"/>
              </a:rPr>
              <a:t>eModules</a:t>
            </a:r>
            <a:r>
              <a:rPr lang="en-US" b="0">
                <a:ea typeface="+mj-lt"/>
                <a:cs typeface="+mj-lt"/>
              </a:rPr>
              <a:t>:</a:t>
            </a:r>
            <a:br>
              <a:rPr lang="en-US" b="0">
                <a:ea typeface="+mj-lt"/>
                <a:cs typeface="+mj-lt"/>
              </a:rPr>
            </a:br>
            <a:endParaRPr lang="en-US" b="0">
              <a:cs typeface="Calibri"/>
            </a:endParaRPr>
          </a:p>
        </p:txBody>
      </p:sp>
      <p:sp>
        <p:nvSpPr>
          <p:cNvPr id="3" name="Subtitle 2">
            <a:extLst>
              <a:ext uri="{FF2B5EF4-FFF2-40B4-BE49-F238E27FC236}">
                <a16:creationId xmlns:a16="http://schemas.microsoft.com/office/drawing/2014/main" id="{F750CE6B-25F7-A052-FE7A-FEC54EF4AEAC}"/>
              </a:ext>
            </a:extLst>
          </p:cNvPr>
          <p:cNvSpPr>
            <a:spLocks noGrp="1"/>
          </p:cNvSpPr>
          <p:nvPr>
            <p:ph idx="1"/>
          </p:nvPr>
        </p:nvSpPr>
        <p:spPr>
          <a:xfrm>
            <a:off x="609600" y="1700707"/>
            <a:ext cx="10972800" cy="4501240"/>
          </a:xfrm>
        </p:spPr>
        <p:txBody>
          <a:bodyPr vert="horz" lIns="91440" tIns="45720" rIns="91440" bIns="45720" rtlCol="0" anchor="t">
            <a:noAutofit/>
          </a:bodyPr>
          <a:lstStyle/>
          <a:p>
            <a:r>
              <a:rPr lang="en-US">
                <a:ea typeface="+mn-lt"/>
                <a:cs typeface="+mn-lt"/>
              </a:rPr>
              <a:t>The learning objectives of this course series are to:</a:t>
            </a:r>
            <a:endParaRPr lang="en-US"/>
          </a:p>
          <a:p>
            <a:pPr lvl="1"/>
            <a:r>
              <a:rPr lang="en-US">
                <a:ea typeface="+mn-lt"/>
                <a:cs typeface="+mn-lt"/>
              </a:rPr>
              <a:t>Describe the concepts of race and birth equity</a:t>
            </a:r>
            <a:endParaRPr lang="en-US"/>
          </a:p>
          <a:p>
            <a:pPr lvl="1"/>
            <a:r>
              <a:rPr lang="en-US">
                <a:ea typeface="+mn-lt"/>
                <a:cs typeface="+mn-lt"/>
              </a:rPr>
              <a:t>Describe the history concepts of medicalization of obstetrics, and unethical experimentation on marginalized populations</a:t>
            </a:r>
            <a:endParaRPr lang="en-US"/>
          </a:p>
          <a:p>
            <a:pPr lvl="1"/>
            <a:r>
              <a:rPr lang="en-US">
                <a:ea typeface="+mn-lt"/>
                <a:cs typeface="+mn-lt"/>
              </a:rPr>
              <a:t>Discuss how the history of the field affects obstetric and gynecologic care today</a:t>
            </a:r>
            <a:endParaRPr lang="en-US"/>
          </a:p>
          <a:p>
            <a:pPr lvl="1"/>
            <a:r>
              <a:rPr lang="en-US">
                <a:ea typeface="+mn-lt"/>
                <a:cs typeface="+mn-lt"/>
              </a:rPr>
              <a:t>Describe the goals of respectful maternity care and identify steps to put it into practice</a:t>
            </a:r>
          </a:p>
          <a:p>
            <a:pPr marL="0" algn="ctr">
              <a:buNone/>
            </a:pPr>
            <a:r>
              <a:rPr lang="en-US" b="1">
                <a:solidFill>
                  <a:schemeClr val="accent1"/>
                </a:solidFill>
                <a:ea typeface="Lato"/>
                <a:cs typeface="Calibri"/>
              </a:rPr>
              <a:t>Race and Equity // Historical Foundations // Respectful Care</a:t>
            </a:r>
            <a:endParaRPr lang="en-US" b="1">
              <a:solidFill>
                <a:schemeClr val="accent1"/>
              </a:solidFill>
              <a:cs typeface="Calibri"/>
            </a:endParaRPr>
          </a:p>
        </p:txBody>
      </p:sp>
      <p:sp>
        <p:nvSpPr>
          <p:cNvPr id="4" name="Rectangle: Rounded Corners 3">
            <a:extLst>
              <a:ext uri="{FF2B5EF4-FFF2-40B4-BE49-F238E27FC236}">
                <a16:creationId xmlns:a16="http://schemas.microsoft.com/office/drawing/2014/main" id="{F18F7C66-6D61-219E-CD82-74B5E38C53CD}"/>
              </a:ext>
            </a:extLst>
          </p:cNvPr>
          <p:cNvSpPr/>
          <p:nvPr/>
        </p:nvSpPr>
        <p:spPr>
          <a:xfrm>
            <a:off x="399737" y="5234064"/>
            <a:ext cx="11717311" cy="77449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FFFF"/>
                </a:solidFill>
                <a:effectLst/>
                <a:uLnTx/>
                <a:uFillTx/>
                <a:latin typeface="Calibri" panose="020F0502020204030204"/>
                <a:ea typeface="+mn-lt"/>
                <a:cs typeface="Calibri" panose="020F0502020204030204"/>
              </a:rPr>
              <a:t>https://www.acog.org/education-and-events/emodules/respectful-care</a:t>
            </a:r>
            <a:endParaRPr kumimoji="0" lang="en-US" sz="2200" b="1"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5063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14" name="Rectangle 13">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8" name="Rectangle 17">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306C7E5-0542-3466-A513-3E01795D95AF}"/>
              </a:ext>
            </a:extLst>
          </p:cNvPr>
          <p:cNvSpPr>
            <a:spLocks noGrp="1"/>
          </p:cNvSpPr>
          <p:nvPr>
            <p:ph type="title"/>
          </p:nvPr>
        </p:nvSpPr>
        <p:spPr>
          <a:xfrm>
            <a:off x="1043631" y="809898"/>
            <a:ext cx="10173010" cy="1554480"/>
          </a:xfrm>
        </p:spPr>
        <p:txBody>
          <a:bodyPr anchor="ctr">
            <a:normAutofit/>
          </a:bodyPr>
          <a:lstStyle/>
          <a:p>
            <a:r>
              <a:rPr lang="en-US" sz="4800">
                <a:ea typeface="Lato Medium"/>
                <a:cs typeface="Lato Medium"/>
              </a:rPr>
              <a:t>Doula Engagement Strategies</a:t>
            </a:r>
            <a:endParaRPr lang="en-US" sz="4800"/>
          </a:p>
        </p:txBody>
      </p:sp>
      <p:cxnSp>
        <p:nvCxnSpPr>
          <p:cNvPr id="20" name="Straight Connector 19">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5ED27AA-BA2C-D309-055F-C7CA53A2BF55}"/>
              </a:ext>
            </a:extLst>
          </p:cNvPr>
          <p:cNvSpPr>
            <a:spLocks noGrp="1"/>
          </p:cNvSpPr>
          <p:nvPr>
            <p:ph type="ftr" sz="quarter" idx="11"/>
          </p:nvPr>
        </p:nvSpPr>
        <p:spPr>
          <a:xfrm>
            <a:off x="4038600" y="649224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63F0CB7E-F1A6-D929-D91B-33A19AE70F3B}"/>
              </a:ext>
            </a:extLst>
          </p:cNvPr>
          <p:cNvSpPr>
            <a:spLocks noGrp="1"/>
          </p:cNvSpPr>
          <p:nvPr>
            <p:ph type="sldNum" sz="quarter" idx="10"/>
          </p:nvPr>
        </p:nvSpPr>
        <p:spPr>
          <a:xfrm>
            <a:off x="8610600" y="649224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2</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graphicFrame>
        <p:nvGraphicFramePr>
          <p:cNvPr id="7" name="Content Placeholder 2">
            <a:extLst>
              <a:ext uri="{FF2B5EF4-FFF2-40B4-BE49-F238E27FC236}">
                <a16:creationId xmlns:a16="http://schemas.microsoft.com/office/drawing/2014/main" id="{3A547CF9-B5AF-60DF-BB48-67D5074765BC}"/>
              </a:ext>
            </a:extLst>
          </p:cNvPr>
          <p:cNvGraphicFramePr>
            <a:graphicFrameLocks noGrp="1"/>
          </p:cNvGraphicFramePr>
          <p:nvPr>
            <p:ph idx="1"/>
          </p:nvPr>
        </p:nvGraphicFramePr>
        <p:xfrm>
          <a:off x="904602" y="3017519"/>
          <a:ext cx="10378440" cy="32099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0517704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65F4110-C0FC-4D61-ACD2-A7C950EAE9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4708357" y="3509963"/>
            <a:ext cx="7092215" cy="2967839"/>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8C4726-2E0A-4285-3D6F-71D391EA25E3}"/>
              </a:ext>
            </a:extLst>
          </p:cNvPr>
          <p:cNvSpPr>
            <a:spLocks noGrp="1"/>
          </p:cNvSpPr>
          <p:nvPr>
            <p:ph type="title"/>
          </p:nvPr>
        </p:nvSpPr>
        <p:spPr>
          <a:xfrm>
            <a:off x="5021821" y="3812954"/>
            <a:ext cx="6887850" cy="1516014"/>
          </a:xfrm>
        </p:spPr>
        <p:txBody>
          <a:bodyPr vert="horz" lIns="91440" tIns="45720" rIns="91440" bIns="45720" rtlCol="0" anchor="b">
            <a:noAutofit/>
          </a:bodyPr>
          <a:lstStyle/>
          <a:p>
            <a:r>
              <a:rPr lang="en-US" sz="2400" b="0">
                <a:solidFill>
                  <a:schemeClr val="bg1"/>
                </a:solidFill>
                <a:ea typeface="+mj-lt"/>
                <a:cs typeface="+mj-lt"/>
              </a:rPr>
              <a:t>All those who completed the ILPQC hosted Speak Up</a:t>
            </a:r>
            <a:r>
              <a:rPr lang="en-US" sz="2400">
                <a:solidFill>
                  <a:schemeClr val="bg1"/>
                </a:solidFill>
                <a:ea typeface="+mj-lt"/>
                <a:cs typeface="+mj-lt"/>
              </a:rPr>
              <a:t> </a:t>
            </a:r>
            <a:r>
              <a:rPr lang="en-US" sz="2400" b="0">
                <a:solidFill>
                  <a:schemeClr val="bg1"/>
                </a:solidFill>
                <a:ea typeface="+mj-lt"/>
                <a:cs typeface="+mj-lt"/>
              </a:rPr>
              <a:t>Trainings in November 2021, January or June 2022 </a:t>
            </a:r>
            <a:br>
              <a:rPr lang="en-US" sz="2400" b="0">
                <a:solidFill>
                  <a:schemeClr val="bg1"/>
                </a:solidFill>
                <a:ea typeface="+mj-lt"/>
                <a:cs typeface="+mj-lt"/>
              </a:rPr>
            </a:br>
            <a:r>
              <a:rPr lang="en-US" sz="2400" b="0">
                <a:solidFill>
                  <a:schemeClr val="bg1"/>
                </a:solidFill>
                <a:ea typeface="+mj-lt"/>
                <a:cs typeface="+mj-lt"/>
              </a:rPr>
              <a:t>are eligible for the Ambassador Course</a:t>
            </a:r>
            <a:r>
              <a:rPr lang="en-US" sz="4000" b="0">
                <a:solidFill>
                  <a:schemeClr val="bg1"/>
                </a:solidFill>
                <a:ea typeface="+mj-lt"/>
                <a:cs typeface="+mj-lt"/>
              </a:rPr>
              <a:t> </a:t>
            </a:r>
            <a:endParaRPr lang="en-US" sz="4000" b="0">
              <a:solidFill>
                <a:schemeClr val="bg1"/>
              </a:solidFill>
              <a:ea typeface="Calibri"/>
              <a:cs typeface="Calibri"/>
            </a:endParaRPr>
          </a:p>
        </p:txBody>
      </p:sp>
      <p:cxnSp>
        <p:nvCxnSpPr>
          <p:cNvPr id="15" name="Straight Connector 14">
            <a:extLst>
              <a:ext uri="{FF2B5EF4-FFF2-40B4-BE49-F238E27FC236}">
                <a16:creationId xmlns:a16="http://schemas.microsoft.com/office/drawing/2014/main" id="{CC94CBDB-A76C-499E-95AB-C0A049E3154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138287" y="5443086"/>
            <a:ext cx="64008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E259C36C-9CFB-36CB-DDC5-209A7C8F604A}"/>
              </a:ext>
            </a:extLst>
          </p:cNvPr>
          <p:cNvSpPr>
            <a:spLocks noGrp="1"/>
          </p:cNvSpPr>
          <p:nvPr>
            <p:ph type="ftr" sz="quarter" idx="11"/>
          </p:nvPr>
        </p:nvSpPr>
        <p:spPr>
          <a:xfrm>
            <a:off x="3649579" y="6536267"/>
            <a:ext cx="4892842" cy="306928"/>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Picture 6" descr="A picture containing text, book&#10;&#10;Description automatically generated">
            <a:extLst>
              <a:ext uri="{FF2B5EF4-FFF2-40B4-BE49-F238E27FC236}">
                <a16:creationId xmlns:a16="http://schemas.microsoft.com/office/drawing/2014/main" id="{CB87362C-383B-7B28-1691-062305145A37}"/>
              </a:ext>
            </a:extLst>
          </p:cNvPr>
          <p:cNvPicPr>
            <a:picLocks noGrp="1" noChangeAspect="1"/>
          </p:cNvPicPr>
          <p:nvPr>
            <p:ph idx="1"/>
          </p:nvPr>
        </p:nvPicPr>
        <p:blipFill rotWithShape="1">
          <a:blip r:embed="rId2"/>
          <a:srcRect l="2424" t="-209" r="606" b="-243"/>
          <a:stretch/>
        </p:blipFill>
        <p:spPr>
          <a:xfrm>
            <a:off x="54228" y="299363"/>
            <a:ext cx="4519556" cy="6242455"/>
          </a:xfrm>
          <a:prstGeom prst="rect">
            <a:avLst/>
          </a:prstGeom>
        </p:spPr>
      </p:pic>
      <p:pic>
        <p:nvPicPr>
          <p:cNvPr id="8" name="Picture 7" descr="Text&#10;&#10;Description automatically generated">
            <a:extLst>
              <a:ext uri="{FF2B5EF4-FFF2-40B4-BE49-F238E27FC236}">
                <a16:creationId xmlns:a16="http://schemas.microsoft.com/office/drawing/2014/main" id="{E94B1024-CF73-2644-6D90-2106CABDE5BF}"/>
              </a:ext>
            </a:extLst>
          </p:cNvPr>
          <p:cNvPicPr>
            <a:picLocks noChangeAspect="1"/>
          </p:cNvPicPr>
          <p:nvPr/>
        </p:nvPicPr>
        <p:blipFill rotWithShape="1">
          <a:blip r:embed="rId3"/>
          <a:srcRect l="2328" r="1048"/>
          <a:stretch/>
        </p:blipFill>
        <p:spPr>
          <a:xfrm>
            <a:off x="4710741" y="-1675"/>
            <a:ext cx="7480712" cy="2885863"/>
          </a:xfrm>
          <a:prstGeom prst="rect">
            <a:avLst/>
          </a:prstGeom>
        </p:spPr>
      </p:pic>
      <p:sp>
        <p:nvSpPr>
          <p:cNvPr id="4" name="Slide Number Placeholder 3">
            <a:extLst>
              <a:ext uri="{FF2B5EF4-FFF2-40B4-BE49-F238E27FC236}">
                <a16:creationId xmlns:a16="http://schemas.microsoft.com/office/drawing/2014/main" id="{A6F19F4E-24E8-F79A-8EB6-B14DD6D5659E}"/>
              </a:ext>
            </a:extLst>
          </p:cNvPr>
          <p:cNvSpPr>
            <a:spLocks noGrp="1"/>
          </p:cNvSpPr>
          <p:nvPr>
            <p:ph type="sldNum" sz="quarter" idx="10"/>
          </p:nvPr>
        </p:nvSpPr>
        <p:spPr>
          <a:xfrm>
            <a:off x="9057372" y="6536267"/>
            <a:ext cx="2743200" cy="306928"/>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3</a:t>
            </a:fld>
            <a:endPar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2936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cs typeface="Calibri"/>
              </a:rPr>
              <a:t>How-To: Review PREM Survey Reports</a:t>
            </a:r>
            <a:endParaRPr lang="en-US"/>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r>
              <a:rPr lang="en-US" sz="2600" b="1" err="1">
                <a:ea typeface="Lato"/>
                <a:cs typeface="Lato"/>
              </a:rPr>
              <a:t>REDCap</a:t>
            </a:r>
            <a:r>
              <a:rPr lang="en-US" sz="2600" b="1">
                <a:ea typeface="Lato"/>
                <a:cs typeface="Lato"/>
              </a:rPr>
              <a:t> Tutorial</a:t>
            </a:r>
            <a:endParaRPr lang="en-US"/>
          </a:p>
        </p:txBody>
      </p:sp>
    </p:spTree>
    <p:extLst>
      <p:ext uri="{BB962C8B-B14F-4D97-AF65-F5344CB8AC3E}">
        <p14:creationId xmlns:p14="http://schemas.microsoft.com/office/powerpoint/2010/main" val="208786611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F8578-93ED-D009-8562-90753379F670}"/>
              </a:ext>
            </a:extLst>
          </p:cNvPr>
          <p:cNvSpPr>
            <a:spLocks noGrp="1"/>
          </p:cNvSpPr>
          <p:nvPr>
            <p:ph type="title"/>
          </p:nvPr>
        </p:nvSpPr>
        <p:spPr>
          <a:solidFill>
            <a:schemeClr val="bg1"/>
          </a:solidFill>
        </p:spPr>
        <p:txBody>
          <a:bodyPr/>
          <a:lstStyle/>
          <a:p>
            <a:r>
              <a:rPr lang="en-US">
                <a:ea typeface="Lato Medium"/>
                <a:cs typeface="Lato Medium"/>
              </a:rPr>
              <a:t>PREM Survey Dashboard Review – Accessing Data</a:t>
            </a:r>
            <a:endParaRPr lang="en-US"/>
          </a:p>
        </p:txBody>
      </p:sp>
      <p:sp>
        <p:nvSpPr>
          <p:cNvPr id="3" name="Content Placeholder 2">
            <a:extLst>
              <a:ext uri="{FF2B5EF4-FFF2-40B4-BE49-F238E27FC236}">
                <a16:creationId xmlns:a16="http://schemas.microsoft.com/office/drawing/2014/main" id="{A7B6E2D0-1D97-60D1-5FEF-B69401319127}"/>
              </a:ext>
            </a:extLst>
          </p:cNvPr>
          <p:cNvSpPr>
            <a:spLocks noGrp="1"/>
          </p:cNvSpPr>
          <p:nvPr>
            <p:ph idx="1"/>
          </p:nvPr>
        </p:nvSpPr>
        <p:spPr/>
        <p:txBody>
          <a:bodyPr vert="horz" lIns="91440" tIns="45720" rIns="91440" bIns="45720" rtlCol="0" anchor="t">
            <a:noAutofit/>
          </a:bodyPr>
          <a:lstStyle/>
          <a:p>
            <a:pPr marL="457200" indent="-457200">
              <a:buAutoNum type="arabicPeriod"/>
            </a:pPr>
            <a:r>
              <a:rPr lang="en-US">
                <a:ea typeface="Lato"/>
                <a:cs typeface="Lato"/>
              </a:rPr>
              <a:t>Log into </a:t>
            </a:r>
            <a:r>
              <a:rPr lang="en-US" err="1">
                <a:ea typeface="Lato"/>
                <a:cs typeface="Lato"/>
              </a:rPr>
              <a:t>REDCap</a:t>
            </a:r>
            <a:r>
              <a:rPr lang="en-US">
                <a:ea typeface="Lato"/>
                <a:cs typeface="Lato"/>
              </a:rPr>
              <a:t> account</a:t>
            </a:r>
          </a:p>
          <a:p>
            <a:pPr marL="457200" indent="-457200">
              <a:buAutoNum type="arabicPeriod"/>
            </a:pPr>
            <a:r>
              <a:rPr lang="en-US">
                <a:ea typeface="Lato"/>
                <a:cs typeface="Lato"/>
              </a:rPr>
              <a:t>Open "Patient Reported Experience Measure (PREM) - English" project</a:t>
            </a:r>
            <a:endParaRPr lang="en-US"/>
          </a:p>
        </p:txBody>
      </p:sp>
      <p:sp>
        <p:nvSpPr>
          <p:cNvPr id="4" name="Slide Number Placeholder 3">
            <a:extLst>
              <a:ext uri="{FF2B5EF4-FFF2-40B4-BE49-F238E27FC236}">
                <a16:creationId xmlns:a16="http://schemas.microsoft.com/office/drawing/2014/main" id="{D378D512-683C-96E6-4C50-0F00230BF72E}"/>
              </a:ext>
            </a:extLst>
          </p:cNvPr>
          <p:cNvSpPr>
            <a:spLocks noGrp="1"/>
          </p:cNvSpPr>
          <p:nvPr>
            <p:ph type="sldNum" sz="quarter" idx="10"/>
          </p:nvPr>
        </p:nvSpPr>
        <p:spPr/>
        <p:txBody>
          <a:bodyPr/>
          <a:lstStyle/>
          <a:p>
            <a:fld id="{97033E4B-E3EB-3D46-B2D8-3159663620FA}" type="slidenum">
              <a:rPr lang="en-US" smtClean="0"/>
              <a:pPr/>
              <a:t>55</a:t>
            </a:fld>
            <a:endParaRPr lang="en-US"/>
          </a:p>
        </p:txBody>
      </p:sp>
      <p:sp>
        <p:nvSpPr>
          <p:cNvPr id="5" name="Footer Placeholder 4">
            <a:extLst>
              <a:ext uri="{FF2B5EF4-FFF2-40B4-BE49-F238E27FC236}">
                <a16:creationId xmlns:a16="http://schemas.microsoft.com/office/drawing/2014/main" id="{73621E2F-75A3-84DA-03B3-0A3A82EF3E79}"/>
              </a:ext>
            </a:extLst>
          </p:cNvPr>
          <p:cNvSpPr>
            <a:spLocks noGrp="1"/>
          </p:cNvSpPr>
          <p:nvPr>
            <p:ph type="ftr" sz="quarter" idx="11"/>
          </p:nvPr>
        </p:nvSpPr>
        <p:spPr/>
        <p:txBody>
          <a:bodyPr/>
          <a:lstStyle/>
          <a:p>
            <a:pPr algn="l"/>
            <a:r>
              <a:rPr lang="en-US"/>
              <a:t>Illinois Perinatal Quality Collaborative</a:t>
            </a:r>
          </a:p>
        </p:txBody>
      </p:sp>
      <p:pic>
        <p:nvPicPr>
          <p:cNvPr id="6" name="Picture 6" descr="Table&#10;&#10;Description automatically generated">
            <a:extLst>
              <a:ext uri="{FF2B5EF4-FFF2-40B4-BE49-F238E27FC236}">
                <a16:creationId xmlns:a16="http://schemas.microsoft.com/office/drawing/2014/main" id="{0D149ED1-C59A-ABA3-C203-958342DA4F6D}"/>
              </a:ext>
            </a:extLst>
          </p:cNvPr>
          <p:cNvPicPr>
            <a:picLocks noChangeAspect="1"/>
          </p:cNvPicPr>
          <p:nvPr/>
        </p:nvPicPr>
        <p:blipFill>
          <a:blip r:embed="rId2"/>
          <a:stretch>
            <a:fillRect/>
          </a:stretch>
        </p:blipFill>
        <p:spPr>
          <a:xfrm>
            <a:off x="1737355" y="2853514"/>
            <a:ext cx="9132276" cy="4000972"/>
          </a:xfrm>
          <a:prstGeom prst="rect">
            <a:avLst/>
          </a:prstGeom>
        </p:spPr>
      </p:pic>
      <p:sp>
        <p:nvSpPr>
          <p:cNvPr id="7" name="Rectangle 6">
            <a:extLst>
              <a:ext uri="{FF2B5EF4-FFF2-40B4-BE49-F238E27FC236}">
                <a16:creationId xmlns:a16="http://schemas.microsoft.com/office/drawing/2014/main" id="{DA5535EF-5272-9415-282B-374E45C3F26B}"/>
              </a:ext>
            </a:extLst>
          </p:cNvPr>
          <p:cNvSpPr/>
          <p:nvPr/>
        </p:nvSpPr>
        <p:spPr>
          <a:xfrm>
            <a:off x="2014904" y="4742961"/>
            <a:ext cx="8440614" cy="34192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413BCFCF-D3A6-7F94-28FC-08F5DE384EA4}"/>
              </a:ext>
            </a:extLst>
          </p:cNvPr>
          <p:cNvSpPr/>
          <p:nvPr/>
        </p:nvSpPr>
        <p:spPr>
          <a:xfrm>
            <a:off x="805961" y="4847980"/>
            <a:ext cx="1152769" cy="205153"/>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3152258-933D-2E91-1E7E-512C0A311F8C}"/>
              </a:ext>
            </a:extLst>
          </p:cNvPr>
          <p:cNvSpPr txBox="1"/>
          <p:nvPr/>
        </p:nvSpPr>
        <p:spPr>
          <a:xfrm>
            <a:off x="266700" y="3028950"/>
            <a:ext cx="1593272" cy="1754326"/>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All results from all languages are available via the English Reports for hospital teams</a:t>
            </a:r>
            <a:endParaRPr lang="en-US" dirty="0"/>
          </a:p>
        </p:txBody>
      </p:sp>
    </p:spTree>
    <p:extLst>
      <p:ext uri="{BB962C8B-B14F-4D97-AF65-F5344CB8AC3E}">
        <p14:creationId xmlns:p14="http://schemas.microsoft.com/office/powerpoint/2010/main" val="365914540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F8578-93ED-D009-8562-90753379F670}"/>
              </a:ext>
            </a:extLst>
          </p:cNvPr>
          <p:cNvSpPr>
            <a:spLocks noGrp="1"/>
          </p:cNvSpPr>
          <p:nvPr>
            <p:ph type="title"/>
          </p:nvPr>
        </p:nvSpPr>
        <p:spPr>
          <a:xfrm>
            <a:off x="609600" y="365125"/>
            <a:ext cx="6723185" cy="1345101"/>
          </a:xfrm>
          <a:solidFill>
            <a:schemeClr val="bg1"/>
          </a:solidFill>
        </p:spPr>
        <p:txBody>
          <a:bodyPr/>
          <a:lstStyle/>
          <a:p>
            <a:r>
              <a:rPr lang="en-US">
                <a:ea typeface="Lato Medium"/>
                <a:cs typeface="Lato Medium"/>
              </a:rPr>
              <a:t>PREM Survey Dashboard Review – Accessing Data</a:t>
            </a:r>
            <a:endParaRPr lang="en-US"/>
          </a:p>
        </p:txBody>
      </p:sp>
      <p:sp>
        <p:nvSpPr>
          <p:cNvPr id="3" name="Content Placeholder 2">
            <a:extLst>
              <a:ext uri="{FF2B5EF4-FFF2-40B4-BE49-F238E27FC236}">
                <a16:creationId xmlns:a16="http://schemas.microsoft.com/office/drawing/2014/main" id="{A7B6E2D0-1D97-60D1-5FEF-B69401319127}"/>
              </a:ext>
            </a:extLst>
          </p:cNvPr>
          <p:cNvSpPr>
            <a:spLocks noGrp="1"/>
          </p:cNvSpPr>
          <p:nvPr>
            <p:ph idx="1"/>
          </p:nvPr>
        </p:nvSpPr>
        <p:spPr/>
        <p:txBody>
          <a:bodyPr vert="horz" lIns="91440" tIns="45720" rIns="91440" bIns="45720" rtlCol="0" anchor="t">
            <a:noAutofit/>
          </a:bodyPr>
          <a:lstStyle/>
          <a:p>
            <a:pPr marL="0" indent="0">
              <a:buNone/>
            </a:pPr>
            <a:r>
              <a:rPr lang="en-US">
                <a:ea typeface="Lato"/>
                <a:cs typeface="Lato"/>
              </a:rPr>
              <a:t>3. Go to "Project Bookmarks" and click on "Reports"</a:t>
            </a:r>
          </a:p>
          <a:p>
            <a:pPr marL="0" indent="0">
              <a:buNone/>
            </a:pPr>
            <a:r>
              <a:rPr lang="en-US">
                <a:ea typeface="Lato"/>
                <a:cs typeface="Lato"/>
              </a:rPr>
              <a:t>4. Enter 3-digit Hospital ID and click "Go"</a:t>
            </a:r>
            <a:endParaRPr lang="en-US"/>
          </a:p>
        </p:txBody>
      </p:sp>
      <p:sp>
        <p:nvSpPr>
          <p:cNvPr id="4" name="Slide Number Placeholder 3">
            <a:extLst>
              <a:ext uri="{FF2B5EF4-FFF2-40B4-BE49-F238E27FC236}">
                <a16:creationId xmlns:a16="http://schemas.microsoft.com/office/drawing/2014/main" id="{D378D512-683C-96E6-4C50-0F00230BF72E}"/>
              </a:ext>
            </a:extLst>
          </p:cNvPr>
          <p:cNvSpPr>
            <a:spLocks noGrp="1"/>
          </p:cNvSpPr>
          <p:nvPr>
            <p:ph type="sldNum" sz="quarter" idx="10"/>
          </p:nvPr>
        </p:nvSpPr>
        <p:spPr/>
        <p:txBody>
          <a:bodyPr/>
          <a:lstStyle/>
          <a:p>
            <a:fld id="{97033E4B-E3EB-3D46-B2D8-3159663620FA}" type="slidenum">
              <a:rPr lang="en-US" smtClean="0"/>
              <a:pPr/>
              <a:t>56</a:t>
            </a:fld>
            <a:endParaRPr lang="en-US"/>
          </a:p>
        </p:txBody>
      </p:sp>
      <p:sp>
        <p:nvSpPr>
          <p:cNvPr id="5" name="Footer Placeholder 4">
            <a:extLst>
              <a:ext uri="{FF2B5EF4-FFF2-40B4-BE49-F238E27FC236}">
                <a16:creationId xmlns:a16="http://schemas.microsoft.com/office/drawing/2014/main" id="{73621E2F-75A3-84DA-03B3-0A3A82EF3E79}"/>
              </a:ext>
            </a:extLst>
          </p:cNvPr>
          <p:cNvSpPr>
            <a:spLocks noGrp="1"/>
          </p:cNvSpPr>
          <p:nvPr>
            <p:ph type="ftr" sz="quarter" idx="11"/>
          </p:nvPr>
        </p:nvSpPr>
        <p:spPr/>
        <p:txBody>
          <a:bodyPr/>
          <a:lstStyle/>
          <a:p>
            <a:pPr algn="l"/>
            <a:r>
              <a:rPr lang="en-US"/>
              <a:t>Illinois Perinatal Quality Collaborative</a:t>
            </a:r>
          </a:p>
        </p:txBody>
      </p:sp>
      <p:sp>
        <p:nvSpPr>
          <p:cNvPr id="8" name="Arrow: Right 7">
            <a:extLst>
              <a:ext uri="{FF2B5EF4-FFF2-40B4-BE49-F238E27FC236}">
                <a16:creationId xmlns:a16="http://schemas.microsoft.com/office/drawing/2014/main" id="{413BCFCF-D3A6-7F94-28FC-08F5DE384EA4}"/>
              </a:ext>
            </a:extLst>
          </p:cNvPr>
          <p:cNvSpPr/>
          <p:nvPr/>
        </p:nvSpPr>
        <p:spPr>
          <a:xfrm>
            <a:off x="7165730" y="5189903"/>
            <a:ext cx="1152769" cy="205153"/>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9" descr="Graphical user interface, application&#10;&#10;Description automatically generated">
            <a:extLst>
              <a:ext uri="{FF2B5EF4-FFF2-40B4-BE49-F238E27FC236}">
                <a16:creationId xmlns:a16="http://schemas.microsoft.com/office/drawing/2014/main" id="{68FEF5BD-3603-DCEE-2DF2-12E453F925FD}"/>
              </a:ext>
            </a:extLst>
          </p:cNvPr>
          <p:cNvPicPr>
            <a:picLocks noChangeAspect="1"/>
          </p:cNvPicPr>
          <p:nvPr/>
        </p:nvPicPr>
        <p:blipFill>
          <a:blip r:embed="rId2"/>
          <a:stretch>
            <a:fillRect/>
          </a:stretch>
        </p:blipFill>
        <p:spPr>
          <a:xfrm>
            <a:off x="8380212" y="72293"/>
            <a:ext cx="3217652" cy="6635260"/>
          </a:xfrm>
          <a:prstGeom prst="rect">
            <a:avLst/>
          </a:prstGeom>
        </p:spPr>
      </p:pic>
      <p:sp>
        <p:nvSpPr>
          <p:cNvPr id="7" name="Rectangle 6">
            <a:extLst>
              <a:ext uri="{FF2B5EF4-FFF2-40B4-BE49-F238E27FC236}">
                <a16:creationId xmlns:a16="http://schemas.microsoft.com/office/drawing/2014/main" id="{DA5535EF-5272-9415-282B-374E45C3F26B}"/>
              </a:ext>
            </a:extLst>
          </p:cNvPr>
          <p:cNvSpPr/>
          <p:nvPr/>
        </p:nvSpPr>
        <p:spPr>
          <a:xfrm>
            <a:off x="8384442" y="4850423"/>
            <a:ext cx="3204306" cy="59592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10" descr="Graphical user interface, application, website&#10;&#10;Description automatically generated">
            <a:extLst>
              <a:ext uri="{FF2B5EF4-FFF2-40B4-BE49-F238E27FC236}">
                <a16:creationId xmlns:a16="http://schemas.microsoft.com/office/drawing/2014/main" id="{2005DFE3-5D78-02D8-6CE0-6E19E6B2170D}"/>
              </a:ext>
            </a:extLst>
          </p:cNvPr>
          <p:cNvPicPr>
            <a:picLocks noChangeAspect="1"/>
          </p:cNvPicPr>
          <p:nvPr/>
        </p:nvPicPr>
        <p:blipFill>
          <a:blip r:embed="rId3"/>
          <a:stretch>
            <a:fillRect/>
          </a:stretch>
        </p:blipFill>
        <p:spPr>
          <a:xfrm>
            <a:off x="797169" y="2872148"/>
            <a:ext cx="4501661" cy="3487628"/>
          </a:xfrm>
          <a:prstGeom prst="rect">
            <a:avLst/>
          </a:prstGeom>
        </p:spPr>
      </p:pic>
      <p:sp>
        <p:nvSpPr>
          <p:cNvPr id="11" name="Rectangle 10">
            <a:extLst>
              <a:ext uri="{FF2B5EF4-FFF2-40B4-BE49-F238E27FC236}">
                <a16:creationId xmlns:a16="http://schemas.microsoft.com/office/drawing/2014/main" id="{5BC141DC-6A58-D555-52F5-097861D686AB}"/>
              </a:ext>
            </a:extLst>
          </p:cNvPr>
          <p:cNvSpPr/>
          <p:nvPr/>
        </p:nvSpPr>
        <p:spPr>
          <a:xfrm>
            <a:off x="1448288" y="4996961"/>
            <a:ext cx="3204306" cy="59592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Right 13">
            <a:extLst>
              <a:ext uri="{FF2B5EF4-FFF2-40B4-BE49-F238E27FC236}">
                <a16:creationId xmlns:a16="http://schemas.microsoft.com/office/drawing/2014/main" id="{1E603AF5-355C-93B0-E0CF-A6922E1D0927}"/>
              </a:ext>
            </a:extLst>
          </p:cNvPr>
          <p:cNvSpPr/>
          <p:nvPr/>
        </p:nvSpPr>
        <p:spPr>
          <a:xfrm>
            <a:off x="380999" y="5336441"/>
            <a:ext cx="976923" cy="107461"/>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907211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F8578-93ED-D009-8562-90753379F670}"/>
              </a:ext>
            </a:extLst>
          </p:cNvPr>
          <p:cNvSpPr>
            <a:spLocks noGrp="1"/>
          </p:cNvSpPr>
          <p:nvPr>
            <p:ph type="title"/>
          </p:nvPr>
        </p:nvSpPr>
        <p:spPr>
          <a:xfrm>
            <a:off x="23446" y="3663"/>
            <a:ext cx="6723185" cy="1345101"/>
          </a:xfrm>
          <a:solidFill>
            <a:schemeClr val="bg1"/>
          </a:solidFill>
        </p:spPr>
        <p:txBody>
          <a:bodyPr/>
          <a:lstStyle/>
          <a:p>
            <a:r>
              <a:rPr lang="en-US">
                <a:ea typeface="Lato Medium"/>
                <a:cs typeface="Lato Medium"/>
              </a:rPr>
              <a:t>PREM Survey Dashboard Review – Accessing Data</a:t>
            </a:r>
            <a:endParaRPr lang="en-US"/>
          </a:p>
        </p:txBody>
      </p:sp>
      <p:sp>
        <p:nvSpPr>
          <p:cNvPr id="3" name="Content Placeholder 2">
            <a:extLst>
              <a:ext uri="{FF2B5EF4-FFF2-40B4-BE49-F238E27FC236}">
                <a16:creationId xmlns:a16="http://schemas.microsoft.com/office/drawing/2014/main" id="{A7B6E2D0-1D97-60D1-5FEF-B69401319127}"/>
              </a:ext>
            </a:extLst>
          </p:cNvPr>
          <p:cNvSpPr>
            <a:spLocks noGrp="1"/>
          </p:cNvSpPr>
          <p:nvPr>
            <p:ph idx="1"/>
          </p:nvPr>
        </p:nvSpPr>
        <p:spPr>
          <a:xfrm>
            <a:off x="248138" y="1708394"/>
            <a:ext cx="2561492" cy="4351338"/>
          </a:xfrm>
        </p:spPr>
        <p:txBody>
          <a:bodyPr vert="horz" lIns="91440" tIns="45720" rIns="91440" bIns="45720" rtlCol="0" anchor="t">
            <a:noAutofit/>
          </a:bodyPr>
          <a:lstStyle/>
          <a:p>
            <a:pPr marL="0" indent="0">
              <a:buNone/>
            </a:pPr>
            <a:r>
              <a:rPr lang="en-US" dirty="0">
                <a:ea typeface="Lato"/>
                <a:cs typeface="Lato"/>
              </a:rPr>
              <a:t>5. Click through each of the numbered items to see PREM responses by question</a:t>
            </a:r>
          </a:p>
          <a:p>
            <a:pPr marL="0" indent="0">
              <a:buNone/>
            </a:pPr>
            <a:r>
              <a:rPr lang="en-US" sz="2000" b="1" dirty="0">
                <a:ea typeface="Lato"/>
                <a:cs typeface="Lato"/>
              </a:rPr>
              <a:t>Tab 1-14 are each PREM question</a:t>
            </a:r>
          </a:p>
          <a:p>
            <a:pPr marL="0" indent="0">
              <a:buNone/>
            </a:pPr>
            <a:r>
              <a:rPr lang="en-US" sz="2000" b="1" dirty="0">
                <a:ea typeface="Lato"/>
                <a:cs typeface="Lato"/>
              </a:rPr>
              <a:t>Tab 15 is % PREM COMPLETED</a:t>
            </a:r>
          </a:p>
          <a:p>
            <a:pPr marL="0" indent="0">
              <a:buNone/>
            </a:pPr>
            <a:endParaRPr lang="en-US" sz="2000" b="1" dirty="0"/>
          </a:p>
        </p:txBody>
      </p:sp>
      <p:sp>
        <p:nvSpPr>
          <p:cNvPr id="4" name="Slide Number Placeholder 3">
            <a:extLst>
              <a:ext uri="{FF2B5EF4-FFF2-40B4-BE49-F238E27FC236}">
                <a16:creationId xmlns:a16="http://schemas.microsoft.com/office/drawing/2014/main" id="{D378D512-683C-96E6-4C50-0F00230BF72E}"/>
              </a:ext>
            </a:extLst>
          </p:cNvPr>
          <p:cNvSpPr>
            <a:spLocks noGrp="1"/>
          </p:cNvSpPr>
          <p:nvPr>
            <p:ph type="sldNum" sz="quarter" idx="10"/>
          </p:nvPr>
        </p:nvSpPr>
        <p:spPr/>
        <p:txBody>
          <a:bodyPr/>
          <a:lstStyle/>
          <a:p>
            <a:fld id="{97033E4B-E3EB-3D46-B2D8-3159663620FA}" type="slidenum">
              <a:rPr lang="en-US" smtClean="0"/>
              <a:pPr/>
              <a:t>57</a:t>
            </a:fld>
            <a:endParaRPr lang="en-US"/>
          </a:p>
        </p:txBody>
      </p:sp>
      <p:sp>
        <p:nvSpPr>
          <p:cNvPr id="5" name="Footer Placeholder 4">
            <a:extLst>
              <a:ext uri="{FF2B5EF4-FFF2-40B4-BE49-F238E27FC236}">
                <a16:creationId xmlns:a16="http://schemas.microsoft.com/office/drawing/2014/main" id="{73621E2F-75A3-84DA-03B3-0A3A82EF3E79}"/>
              </a:ext>
            </a:extLst>
          </p:cNvPr>
          <p:cNvSpPr>
            <a:spLocks noGrp="1"/>
          </p:cNvSpPr>
          <p:nvPr>
            <p:ph type="ftr" sz="quarter" idx="11"/>
          </p:nvPr>
        </p:nvSpPr>
        <p:spPr/>
        <p:txBody>
          <a:bodyPr/>
          <a:lstStyle/>
          <a:p>
            <a:pPr algn="l"/>
            <a:r>
              <a:rPr lang="en-US"/>
              <a:t>Illinois Perinatal Quality Collaborative</a:t>
            </a:r>
          </a:p>
        </p:txBody>
      </p:sp>
      <p:pic>
        <p:nvPicPr>
          <p:cNvPr id="6" name="Picture 11" descr="A picture containing graphical user interface&#10;&#10;Description automatically generated">
            <a:extLst>
              <a:ext uri="{FF2B5EF4-FFF2-40B4-BE49-F238E27FC236}">
                <a16:creationId xmlns:a16="http://schemas.microsoft.com/office/drawing/2014/main" id="{622CD9B3-D2EC-40D5-AC83-08B38FC8EA14}"/>
              </a:ext>
            </a:extLst>
          </p:cNvPr>
          <p:cNvPicPr>
            <a:picLocks noChangeAspect="1"/>
          </p:cNvPicPr>
          <p:nvPr/>
        </p:nvPicPr>
        <p:blipFill>
          <a:blip r:embed="rId2"/>
          <a:stretch>
            <a:fillRect/>
          </a:stretch>
        </p:blipFill>
        <p:spPr>
          <a:xfrm>
            <a:off x="2819399" y="1717003"/>
            <a:ext cx="9249506" cy="4518145"/>
          </a:xfrm>
          <a:prstGeom prst="rect">
            <a:avLst/>
          </a:prstGeom>
        </p:spPr>
      </p:pic>
      <p:sp>
        <p:nvSpPr>
          <p:cNvPr id="11" name="Rectangle 10">
            <a:extLst>
              <a:ext uri="{FF2B5EF4-FFF2-40B4-BE49-F238E27FC236}">
                <a16:creationId xmlns:a16="http://schemas.microsoft.com/office/drawing/2014/main" id="{5BC141DC-6A58-D555-52F5-097861D686AB}"/>
              </a:ext>
            </a:extLst>
          </p:cNvPr>
          <p:cNvSpPr/>
          <p:nvPr/>
        </p:nvSpPr>
        <p:spPr>
          <a:xfrm>
            <a:off x="3187212" y="2242039"/>
            <a:ext cx="5275383" cy="52753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Right 13">
            <a:extLst>
              <a:ext uri="{FF2B5EF4-FFF2-40B4-BE49-F238E27FC236}">
                <a16:creationId xmlns:a16="http://schemas.microsoft.com/office/drawing/2014/main" id="{1E603AF5-355C-93B0-E0CF-A6922E1D0927}"/>
              </a:ext>
            </a:extLst>
          </p:cNvPr>
          <p:cNvSpPr/>
          <p:nvPr/>
        </p:nvSpPr>
        <p:spPr>
          <a:xfrm rot="1980000">
            <a:off x="2362516" y="1888507"/>
            <a:ext cx="1045307" cy="224691"/>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69253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F8578-93ED-D009-8562-90753379F670}"/>
              </a:ext>
            </a:extLst>
          </p:cNvPr>
          <p:cNvSpPr>
            <a:spLocks noGrp="1"/>
          </p:cNvSpPr>
          <p:nvPr>
            <p:ph type="title"/>
          </p:nvPr>
        </p:nvSpPr>
        <p:spPr>
          <a:xfrm>
            <a:off x="23446" y="3663"/>
            <a:ext cx="6723185" cy="1345101"/>
          </a:xfrm>
          <a:solidFill>
            <a:schemeClr val="bg1"/>
          </a:solidFill>
        </p:spPr>
        <p:txBody>
          <a:bodyPr/>
          <a:lstStyle/>
          <a:p>
            <a:r>
              <a:rPr lang="en-US">
                <a:ea typeface="Lato Medium"/>
                <a:cs typeface="Lato Medium"/>
              </a:rPr>
              <a:t>PREM Survey Dashboard Review – Accessing Data</a:t>
            </a:r>
            <a:endParaRPr lang="en-US"/>
          </a:p>
        </p:txBody>
      </p:sp>
      <p:sp>
        <p:nvSpPr>
          <p:cNvPr id="3" name="Content Placeholder 2">
            <a:extLst>
              <a:ext uri="{FF2B5EF4-FFF2-40B4-BE49-F238E27FC236}">
                <a16:creationId xmlns:a16="http://schemas.microsoft.com/office/drawing/2014/main" id="{A7B6E2D0-1D97-60D1-5FEF-B69401319127}"/>
              </a:ext>
            </a:extLst>
          </p:cNvPr>
          <p:cNvSpPr>
            <a:spLocks noGrp="1"/>
          </p:cNvSpPr>
          <p:nvPr>
            <p:ph idx="1"/>
          </p:nvPr>
        </p:nvSpPr>
        <p:spPr>
          <a:xfrm>
            <a:off x="248138" y="1718163"/>
            <a:ext cx="2151185" cy="4341569"/>
          </a:xfrm>
        </p:spPr>
        <p:txBody>
          <a:bodyPr vert="horz" lIns="91440" tIns="45720" rIns="91440" bIns="45720" rtlCol="0" anchor="t">
            <a:noAutofit/>
          </a:bodyPr>
          <a:lstStyle/>
          <a:p>
            <a:pPr marL="0" indent="0">
              <a:buNone/>
            </a:pPr>
            <a:r>
              <a:rPr lang="en-US" dirty="0">
                <a:ea typeface="Lato"/>
                <a:cs typeface="Lato"/>
              </a:rPr>
              <a:t>6. To view data by quarter, use this drop-down menu</a:t>
            </a:r>
            <a:endParaRPr lang="en-US" dirty="0"/>
          </a:p>
        </p:txBody>
      </p:sp>
      <p:sp>
        <p:nvSpPr>
          <p:cNvPr id="4" name="Slide Number Placeholder 3">
            <a:extLst>
              <a:ext uri="{FF2B5EF4-FFF2-40B4-BE49-F238E27FC236}">
                <a16:creationId xmlns:a16="http://schemas.microsoft.com/office/drawing/2014/main" id="{D378D512-683C-96E6-4C50-0F00230BF72E}"/>
              </a:ext>
            </a:extLst>
          </p:cNvPr>
          <p:cNvSpPr>
            <a:spLocks noGrp="1"/>
          </p:cNvSpPr>
          <p:nvPr>
            <p:ph type="sldNum" sz="quarter" idx="10"/>
          </p:nvPr>
        </p:nvSpPr>
        <p:spPr/>
        <p:txBody>
          <a:bodyPr/>
          <a:lstStyle/>
          <a:p>
            <a:fld id="{97033E4B-E3EB-3D46-B2D8-3159663620FA}" type="slidenum">
              <a:rPr lang="en-US" smtClean="0"/>
              <a:pPr/>
              <a:t>58</a:t>
            </a:fld>
            <a:endParaRPr lang="en-US"/>
          </a:p>
        </p:txBody>
      </p:sp>
      <p:sp>
        <p:nvSpPr>
          <p:cNvPr id="5" name="Footer Placeholder 4">
            <a:extLst>
              <a:ext uri="{FF2B5EF4-FFF2-40B4-BE49-F238E27FC236}">
                <a16:creationId xmlns:a16="http://schemas.microsoft.com/office/drawing/2014/main" id="{73621E2F-75A3-84DA-03B3-0A3A82EF3E79}"/>
              </a:ext>
            </a:extLst>
          </p:cNvPr>
          <p:cNvSpPr>
            <a:spLocks noGrp="1"/>
          </p:cNvSpPr>
          <p:nvPr>
            <p:ph type="ftr" sz="quarter" idx="11"/>
          </p:nvPr>
        </p:nvSpPr>
        <p:spPr/>
        <p:txBody>
          <a:bodyPr/>
          <a:lstStyle/>
          <a:p>
            <a:pPr algn="l"/>
            <a:r>
              <a:rPr lang="en-US"/>
              <a:t>Illinois Perinatal Quality Collaborative</a:t>
            </a:r>
          </a:p>
        </p:txBody>
      </p:sp>
      <p:pic>
        <p:nvPicPr>
          <p:cNvPr id="7" name="Picture 7" descr="Chart&#10;&#10;Description automatically generated">
            <a:extLst>
              <a:ext uri="{FF2B5EF4-FFF2-40B4-BE49-F238E27FC236}">
                <a16:creationId xmlns:a16="http://schemas.microsoft.com/office/drawing/2014/main" id="{854AA8C4-1629-6FB6-B4E6-0609EB816806}"/>
              </a:ext>
            </a:extLst>
          </p:cNvPr>
          <p:cNvPicPr>
            <a:picLocks noChangeAspect="1"/>
          </p:cNvPicPr>
          <p:nvPr/>
        </p:nvPicPr>
        <p:blipFill>
          <a:blip r:embed="rId2"/>
          <a:stretch>
            <a:fillRect/>
          </a:stretch>
        </p:blipFill>
        <p:spPr>
          <a:xfrm>
            <a:off x="2409091" y="1350981"/>
            <a:ext cx="9708662" cy="4634730"/>
          </a:xfrm>
          <a:prstGeom prst="rect">
            <a:avLst/>
          </a:prstGeom>
        </p:spPr>
      </p:pic>
      <p:sp>
        <p:nvSpPr>
          <p:cNvPr id="14" name="Arrow: Right 13">
            <a:extLst>
              <a:ext uri="{FF2B5EF4-FFF2-40B4-BE49-F238E27FC236}">
                <a16:creationId xmlns:a16="http://schemas.microsoft.com/office/drawing/2014/main" id="{1E603AF5-355C-93B0-E0CF-A6922E1D0927}"/>
              </a:ext>
            </a:extLst>
          </p:cNvPr>
          <p:cNvSpPr/>
          <p:nvPr/>
        </p:nvSpPr>
        <p:spPr>
          <a:xfrm rot="1980000">
            <a:off x="3192900" y="2767738"/>
            <a:ext cx="1045307" cy="224691"/>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8C37D0C-66E4-6AEC-CF8A-C1F34D84CAEA}"/>
              </a:ext>
            </a:extLst>
          </p:cNvPr>
          <p:cNvSpPr/>
          <p:nvPr/>
        </p:nvSpPr>
        <p:spPr>
          <a:xfrm>
            <a:off x="3998056" y="3255596"/>
            <a:ext cx="1250461" cy="273538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608610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F8578-93ED-D009-8562-90753379F670}"/>
              </a:ext>
            </a:extLst>
          </p:cNvPr>
          <p:cNvSpPr>
            <a:spLocks noGrp="1"/>
          </p:cNvSpPr>
          <p:nvPr>
            <p:ph type="title"/>
          </p:nvPr>
        </p:nvSpPr>
        <p:spPr>
          <a:xfrm>
            <a:off x="23446" y="3663"/>
            <a:ext cx="6723185" cy="1345101"/>
          </a:xfrm>
          <a:solidFill>
            <a:schemeClr val="bg1"/>
          </a:solidFill>
        </p:spPr>
        <p:txBody>
          <a:bodyPr/>
          <a:lstStyle/>
          <a:p>
            <a:r>
              <a:rPr lang="en-US">
                <a:ea typeface="Lato Medium"/>
                <a:cs typeface="Lato Medium"/>
              </a:rPr>
              <a:t>PREM Survey Dashboard Review – Accessing Data</a:t>
            </a:r>
            <a:endParaRPr lang="en-US"/>
          </a:p>
        </p:txBody>
      </p:sp>
      <p:sp>
        <p:nvSpPr>
          <p:cNvPr id="3" name="Content Placeholder 2">
            <a:extLst>
              <a:ext uri="{FF2B5EF4-FFF2-40B4-BE49-F238E27FC236}">
                <a16:creationId xmlns:a16="http://schemas.microsoft.com/office/drawing/2014/main" id="{A7B6E2D0-1D97-60D1-5FEF-B69401319127}"/>
              </a:ext>
            </a:extLst>
          </p:cNvPr>
          <p:cNvSpPr>
            <a:spLocks noGrp="1"/>
          </p:cNvSpPr>
          <p:nvPr>
            <p:ph idx="1"/>
          </p:nvPr>
        </p:nvSpPr>
        <p:spPr>
          <a:xfrm>
            <a:off x="248138" y="1718163"/>
            <a:ext cx="2151185" cy="4341569"/>
          </a:xfrm>
        </p:spPr>
        <p:txBody>
          <a:bodyPr vert="horz" lIns="91440" tIns="45720" rIns="91440" bIns="45720" rtlCol="0" anchor="t">
            <a:noAutofit/>
          </a:bodyPr>
          <a:lstStyle/>
          <a:p>
            <a:pPr marL="0" indent="0">
              <a:buNone/>
            </a:pPr>
            <a:r>
              <a:rPr lang="en-US">
                <a:ea typeface="Lato"/>
                <a:cs typeface="Lato"/>
              </a:rPr>
              <a:t>If you want to view data by a specific month, remember to change the Month/Quarter toggle to "Monthly"!</a:t>
            </a:r>
            <a:endParaRPr lang="en-US"/>
          </a:p>
        </p:txBody>
      </p:sp>
      <p:sp>
        <p:nvSpPr>
          <p:cNvPr id="4" name="Slide Number Placeholder 3">
            <a:extLst>
              <a:ext uri="{FF2B5EF4-FFF2-40B4-BE49-F238E27FC236}">
                <a16:creationId xmlns:a16="http://schemas.microsoft.com/office/drawing/2014/main" id="{D378D512-683C-96E6-4C50-0F00230BF72E}"/>
              </a:ext>
            </a:extLst>
          </p:cNvPr>
          <p:cNvSpPr>
            <a:spLocks noGrp="1"/>
          </p:cNvSpPr>
          <p:nvPr>
            <p:ph type="sldNum" sz="quarter" idx="10"/>
          </p:nvPr>
        </p:nvSpPr>
        <p:spPr/>
        <p:txBody>
          <a:bodyPr/>
          <a:lstStyle/>
          <a:p>
            <a:fld id="{97033E4B-E3EB-3D46-B2D8-3159663620FA}" type="slidenum">
              <a:rPr lang="en-US" smtClean="0"/>
              <a:pPr/>
              <a:t>59</a:t>
            </a:fld>
            <a:endParaRPr lang="en-US"/>
          </a:p>
        </p:txBody>
      </p:sp>
      <p:sp>
        <p:nvSpPr>
          <p:cNvPr id="5" name="Footer Placeholder 4">
            <a:extLst>
              <a:ext uri="{FF2B5EF4-FFF2-40B4-BE49-F238E27FC236}">
                <a16:creationId xmlns:a16="http://schemas.microsoft.com/office/drawing/2014/main" id="{73621E2F-75A3-84DA-03B3-0A3A82EF3E79}"/>
              </a:ext>
            </a:extLst>
          </p:cNvPr>
          <p:cNvSpPr>
            <a:spLocks noGrp="1"/>
          </p:cNvSpPr>
          <p:nvPr>
            <p:ph type="ftr" sz="quarter" idx="11"/>
          </p:nvPr>
        </p:nvSpPr>
        <p:spPr/>
        <p:txBody>
          <a:bodyPr/>
          <a:lstStyle/>
          <a:p>
            <a:pPr algn="l"/>
            <a:r>
              <a:rPr lang="en-US"/>
              <a:t>Illinois Perinatal Quality Collaborative</a:t>
            </a:r>
          </a:p>
        </p:txBody>
      </p:sp>
      <p:pic>
        <p:nvPicPr>
          <p:cNvPr id="6" name="Picture 7" descr="Chart, waterfall chart&#10;&#10;Description automatically generated">
            <a:extLst>
              <a:ext uri="{FF2B5EF4-FFF2-40B4-BE49-F238E27FC236}">
                <a16:creationId xmlns:a16="http://schemas.microsoft.com/office/drawing/2014/main" id="{DD86D3C8-5AD7-E405-9672-9801BA5DE652}"/>
              </a:ext>
            </a:extLst>
          </p:cNvPr>
          <p:cNvPicPr>
            <a:picLocks noChangeAspect="1"/>
          </p:cNvPicPr>
          <p:nvPr/>
        </p:nvPicPr>
        <p:blipFill>
          <a:blip r:embed="rId2"/>
          <a:stretch>
            <a:fillRect/>
          </a:stretch>
        </p:blipFill>
        <p:spPr>
          <a:xfrm>
            <a:off x="2409092" y="1425829"/>
            <a:ext cx="9845430" cy="4924649"/>
          </a:xfrm>
          <a:prstGeom prst="rect">
            <a:avLst/>
          </a:prstGeom>
        </p:spPr>
      </p:pic>
      <p:sp>
        <p:nvSpPr>
          <p:cNvPr id="14" name="Arrow: Right 13">
            <a:extLst>
              <a:ext uri="{FF2B5EF4-FFF2-40B4-BE49-F238E27FC236}">
                <a16:creationId xmlns:a16="http://schemas.microsoft.com/office/drawing/2014/main" id="{1E603AF5-355C-93B0-E0CF-A6922E1D0927}"/>
              </a:ext>
            </a:extLst>
          </p:cNvPr>
          <p:cNvSpPr/>
          <p:nvPr/>
        </p:nvSpPr>
        <p:spPr>
          <a:xfrm rot="2700000">
            <a:off x="5400746" y="2806815"/>
            <a:ext cx="1045307" cy="224691"/>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A5935B68-4925-F71F-A5EF-A7288EDE1F3B}"/>
              </a:ext>
            </a:extLst>
          </p:cNvPr>
          <p:cNvSpPr/>
          <p:nvPr/>
        </p:nvSpPr>
        <p:spPr>
          <a:xfrm>
            <a:off x="3880826" y="3275134"/>
            <a:ext cx="1113692" cy="51776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5CFDD6A-D769-E328-A487-F0F4138478DD}"/>
              </a:ext>
            </a:extLst>
          </p:cNvPr>
          <p:cNvSpPr/>
          <p:nvPr/>
        </p:nvSpPr>
        <p:spPr>
          <a:xfrm>
            <a:off x="5815133" y="3275134"/>
            <a:ext cx="1113692" cy="51776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61421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4CF7A51-E4B7-D6AC-577C-8BEEF42619EC}"/>
              </a:ext>
            </a:extLst>
          </p:cNvPr>
          <p:cNvSpPr>
            <a:spLocks noGrp="1"/>
          </p:cNvSpPr>
          <p:nvPr>
            <p:ph type="title"/>
          </p:nvPr>
        </p:nvSpPr>
        <p:spPr>
          <a:xfrm>
            <a:off x="586478" y="1683756"/>
            <a:ext cx="3115265" cy="2396359"/>
          </a:xfrm>
        </p:spPr>
        <p:txBody>
          <a:bodyPr anchor="b">
            <a:normAutofit/>
          </a:bodyPr>
          <a:lstStyle/>
          <a:p>
            <a:pPr algn="r"/>
            <a:r>
              <a:rPr lang="en-US" sz="4000">
                <a:solidFill>
                  <a:srgbClr val="FFFFFF"/>
                </a:solidFill>
              </a:rPr>
              <a:t>Call Overview</a:t>
            </a:r>
          </a:p>
        </p:txBody>
      </p:sp>
      <p:sp>
        <p:nvSpPr>
          <p:cNvPr id="5" name="Footer Placeholder 4">
            <a:extLst>
              <a:ext uri="{FF2B5EF4-FFF2-40B4-BE49-F238E27FC236}">
                <a16:creationId xmlns:a16="http://schemas.microsoft.com/office/drawing/2014/main" id="{D5190B3B-9D61-64E7-7C49-030ED072D46A}"/>
              </a:ext>
            </a:extLst>
          </p:cNvPr>
          <p:cNvSpPr>
            <a:spLocks noGrp="1"/>
          </p:cNvSpPr>
          <p:nvPr>
            <p:ph type="ftr" sz="quarter" idx="11"/>
          </p:nvPr>
        </p:nvSpPr>
        <p:spPr>
          <a:xfrm rot="5400000">
            <a:off x="-1828800" y="1984248"/>
            <a:ext cx="4114800" cy="36512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56D2F46C-925D-2108-E3D5-1C90F84C682B}"/>
              </a:ext>
            </a:extLst>
          </p:cNvPr>
          <p:cNvSpPr>
            <a:spLocks noGrp="1"/>
          </p:cNvSpPr>
          <p:nvPr>
            <p:ph type="sldNum" sz="quarter" idx="10"/>
          </p:nvPr>
        </p:nvSpPr>
        <p:spPr>
          <a:xfrm>
            <a:off x="11704320" y="6455664"/>
            <a:ext cx="448056"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6</a:t>
            </a:fld>
            <a:endParaRPr kumimoji="0" lang="en-US" sz="1100" b="0" i="0" u="none" strike="noStrike" kern="1200" cap="none" spc="0" normalizeH="0" baseline="0" noProof="0">
              <a:ln>
                <a:noFill/>
              </a:ln>
              <a:solidFill>
                <a:srgbClr val="444C55">
                  <a:lumMod val="50000"/>
                  <a:lumOff val="50000"/>
                </a:srgbClr>
              </a:solidFill>
              <a:effectLst/>
              <a:uLnTx/>
              <a:uFillTx/>
              <a:latin typeface="Calibri" panose="020F0502020204030204"/>
              <a:ea typeface="+mn-ea"/>
              <a:cs typeface="+mn-cs"/>
            </a:endParaRPr>
          </a:p>
        </p:txBody>
      </p:sp>
      <p:graphicFrame>
        <p:nvGraphicFramePr>
          <p:cNvPr id="14" name="Content Placeholder 2">
            <a:extLst>
              <a:ext uri="{FF2B5EF4-FFF2-40B4-BE49-F238E27FC236}">
                <a16:creationId xmlns:a16="http://schemas.microsoft.com/office/drawing/2014/main" id="{1AFE1AA9-94FD-3ADA-A805-0D8A1696B64C}"/>
              </a:ext>
            </a:extLst>
          </p:cNvPr>
          <p:cNvGraphicFramePr>
            <a:graphicFrameLocks noGrp="1"/>
          </p:cNvGraphicFramePr>
          <p:nvPr>
            <p:ph idx="1"/>
          </p:nvPr>
        </p:nvGraphicFramePr>
        <p:xfrm>
          <a:off x="4919163" y="693996"/>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635100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F8578-93ED-D009-8562-90753379F670}"/>
              </a:ext>
            </a:extLst>
          </p:cNvPr>
          <p:cNvSpPr>
            <a:spLocks noGrp="1"/>
          </p:cNvSpPr>
          <p:nvPr>
            <p:ph type="title"/>
          </p:nvPr>
        </p:nvSpPr>
        <p:spPr>
          <a:xfrm>
            <a:off x="23446" y="3663"/>
            <a:ext cx="6723185" cy="1345101"/>
          </a:xfrm>
          <a:solidFill>
            <a:schemeClr val="bg1"/>
          </a:solidFill>
        </p:spPr>
        <p:txBody>
          <a:bodyPr/>
          <a:lstStyle/>
          <a:p>
            <a:r>
              <a:rPr lang="en-US">
                <a:ea typeface="Lato Medium"/>
                <a:cs typeface="Lato Medium"/>
              </a:rPr>
              <a:t>PREM Survey Dashboard Review – Accessing Data</a:t>
            </a:r>
            <a:endParaRPr lang="en-US"/>
          </a:p>
        </p:txBody>
      </p:sp>
      <p:sp>
        <p:nvSpPr>
          <p:cNvPr id="3" name="Content Placeholder 2">
            <a:extLst>
              <a:ext uri="{FF2B5EF4-FFF2-40B4-BE49-F238E27FC236}">
                <a16:creationId xmlns:a16="http://schemas.microsoft.com/office/drawing/2014/main" id="{A7B6E2D0-1D97-60D1-5FEF-B69401319127}"/>
              </a:ext>
            </a:extLst>
          </p:cNvPr>
          <p:cNvSpPr>
            <a:spLocks noGrp="1"/>
          </p:cNvSpPr>
          <p:nvPr>
            <p:ph idx="1"/>
          </p:nvPr>
        </p:nvSpPr>
        <p:spPr>
          <a:xfrm>
            <a:off x="248138" y="1718163"/>
            <a:ext cx="2151185" cy="4341569"/>
          </a:xfrm>
        </p:spPr>
        <p:txBody>
          <a:bodyPr vert="horz" lIns="91440" tIns="45720" rIns="91440" bIns="45720" rtlCol="0" anchor="t">
            <a:noAutofit/>
          </a:bodyPr>
          <a:lstStyle/>
          <a:p>
            <a:pPr marL="0" indent="0">
              <a:buNone/>
            </a:pPr>
            <a:r>
              <a:rPr lang="en-US">
                <a:ea typeface="Lato"/>
                <a:cs typeface="Lato"/>
              </a:rPr>
              <a:t>7. To stratify data by race/ethnicity or insurance status, use the "Report </a:t>
            </a:r>
            <a:r>
              <a:rPr lang="en-US" err="1">
                <a:ea typeface="Lato"/>
                <a:cs typeface="Lato"/>
              </a:rPr>
              <a:t>Stratifier</a:t>
            </a:r>
            <a:r>
              <a:rPr lang="en-US">
                <a:ea typeface="Lato"/>
                <a:cs typeface="Lato"/>
              </a:rPr>
              <a:t>" drop-down menu</a:t>
            </a:r>
            <a:endParaRPr lang="en-US"/>
          </a:p>
        </p:txBody>
      </p:sp>
      <p:sp>
        <p:nvSpPr>
          <p:cNvPr id="4" name="Slide Number Placeholder 3">
            <a:extLst>
              <a:ext uri="{FF2B5EF4-FFF2-40B4-BE49-F238E27FC236}">
                <a16:creationId xmlns:a16="http://schemas.microsoft.com/office/drawing/2014/main" id="{D378D512-683C-96E6-4C50-0F00230BF72E}"/>
              </a:ext>
            </a:extLst>
          </p:cNvPr>
          <p:cNvSpPr>
            <a:spLocks noGrp="1"/>
          </p:cNvSpPr>
          <p:nvPr>
            <p:ph type="sldNum" sz="quarter" idx="10"/>
          </p:nvPr>
        </p:nvSpPr>
        <p:spPr/>
        <p:txBody>
          <a:bodyPr/>
          <a:lstStyle/>
          <a:p>
            <a:fld id="{97033E4B-E3EB-3D46-B2D8-3159663620FA}" type="slidenum">
              <a:rPr lang="en-US" smtClean="0"/>
              <a:pPr/>
              <a:t>60</a:t>
            </a:fld>
            <a:endParaRPr lang="en-US"/>
          </a:p>
        </p:txBody>
      </p:sp>
      <p:sp>
        <p:nvSpPr>
          <p:cNvPr id="5" name="Footer Placeholder 4">
            <a:extLst>
              <a:ext uri="{FF2B5EF4-FFF2-40B4-BE49-F238E27FC236}">
                <a16:creationId xmlns:a16="http://schemas.microsoft.com/office/drawing/2014/main" id="{73621E2F-75A3-84DA-03B3-0A3A82EF3E79}"/>
              </a:ext>
            </a:extLst>
          </p:cNvPr>
          <p:cNvSpPr>
            <a:spLocks noGrp="1"/>
          </p:cNvSpPr>
          <p:nvPr>
            <p:ph type="ftr" sz="quarter" idx="11"/>
          </p:nvPr>
        </p:nvSpPr>
        <p:spPr/>
        <p:txBody>
          <a:bodyPr/>
          <a:lstStyle/>
          <a:p>
            <a:pPr algn="l"/>
            <a:r>
              <a:rPr lang="en-US"/>
              <a:t>Illinois Perinatal Quality Collaborative</a:t>
            </a:r>
          </a:p>
        </p:txBody>
      </p:sp>
      <p:pic>
        <p:nvPicPr>
          <p:cNvPr id="6" name="Picture 7">
            <a:extLst>
              <a:ext uri="{FF2B5EF4-FFF2-40B4-BE49-F238E27FC236}">
                <a16:creationId xmlns:a16="http://schemas.microsoft.com/office/drawing/2014/main" id="{605C95BA-03E4-7A7F-4897-2DB684D1D14B}"/>
              </a:ext>
            </a:extLst>
          </p:cNvPr>
          <p:cNvPicPr>
            <a:picLocks noChangeAspect="1"/>
          </p:cNvPicPr>
          <p:nvPr/>
        </p:nvPicPr>
        <p:blipFill>
          <a:blip r:embed="rId2"/>
          <a:stretch>
            <a:fillRect/>
          </a:stretch>
        </p:blipFill>
        <p:spPr>
          <a:xfrm>
            <a:off x="2233246" y="1540089"/>
            <a:ext cx="9962660" cy="4774282"/>
          </a:xfrm>
          <a:prstGeom prst="rect">
            <a:avLst/>
          </a:prstGeom>
        </p:spPr>
      </p:pic>
      <p:sp>
        <p:nvSpPr>
          <p:cNvPr id="14" name="Arrow: Right 13">
            <a:extLst>
              <a:ext uri="{FF2B5EF4-FFF2-40B4-BE49-F238E27FC236}">
                <a16:creationId xmlns:a16="http://schemas.microsoft.com/office/drawing/2014/main" id="{1E603AF5-355C-93B0-E0CF-A6922E1D0927}"/>
              </a:ext>
            </a:extLst>
          </p:cNvPr>
          <p:cNvSpPr/>
          <p:nvPr/>
        </p:nvSpPr>
        <p:spPr>
          <a:xfrm rot="1980000">
            <a:off x="5967362" y="3051046"/>
            <a:ext cx="1045307" cy="224691"/>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6642840-FFE0-03D6-2AEE-94B922BE170C}"/>
              </a:ext>
            </a:extLst>
          </p:cNvPr>
          <p:cNvSpPr/>
          <p:nvPr/>
        </p:nvSpPr>
        <p:spPr>
          <a:xfrm>
            <a:off x="6752979" y="3470519"/>
            <a:ext cx="1201615" cy="121138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437446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2F511-9A23-9904-7616-35C6446F9E2E}"/>
              </a:ext>
            </a:extLst>
          </p:cNvPr>
          <p:cNvSpPr>
            <a:spLocks noGrp="1"/>
          </p:cNvSpPr>
          <p:nvPr>
            <p:ph type="title"/>
          </p:nvPr>
        </p:nvSpPr>
        <p:spPr>
          <a:xfrm>
            <a:off x="-1881" y="-1764"/>
            <a:ext cx="7134578" cy="1325563"/>
          </a:xfrm>
          <a:noFill/>
        </p:spPr>
        <p:txBody>
          <a:bodyPr/>
          <a:lstStyle/>
          <a:p>
            <a:r>
              <a:rPr lang="en-US">
                <a:ea typeface="Lato Medium"/>
                <a:cs typeface="Calibri"/>
              </a:rPr>
              <a:t>PREM Survey Dashboard Review – Accessing Data</a:t>
            </a:r>
            <a:endParaRPr lang="en-US"/>
          </a:p>
        </p:txBody>
      </p:sp>
      <p:sp>
        <p:nvSpPr>
          <p:cNvPr id="4" name="Slide Number Placeholder 3">
            <a:extLst>
              <a:ext uri="{FF2B5EF4-FFF2-40B4-BE49-F238E27FC236}">
                <a16:creationId xmlns:a16="http://schemas.microsoft.com/office/drawing/2014/main" id="{E300452F-9888-5541-9C34-68D48D81D9F9}"/>
              </a:ext>
            </a:extLst>
          </p:cNvPr>
          <p:cNvSpPr>
            <a:spLocks noGrp="1"/>
          </p:cNvSpPr>
          <p:nvPr>
            <p:ph type="sldNum" sz="quarter" idx="10"/>
          </p:nvPr>
        </p:nvSpPr>
        <p:spPr/>
        <p:txBody>
          <a:bodyPr/>
          <a:lstStyle/>
          <a:p>
            <a:fld id="{97033E4B-E3EB-3D46-B2D8-3159663620FA}" type="slidenum">
              <a:rPr lang="en-US" smtClean="0"/>
              <a:pPr/>
              <a:t>61</a:t>
            </a:fld>
            <a:endParaRPr lang="en-US"/>
          </a:p>
        </p:txBody>
      </p:sp>
      <p:sp>
        <p:nvSpPr>
          <p:cNvPr id="5" name="Footer Placeholder 4">
            <a:extLst>
              <a:ext uri="{FF2B5EF4-FFF2-40B4-BE49-F238E27FC236}">
                <a16:creationId xmlns:a16="http://schemas.microsoft.com/office/drawing/2014/main" id="{20E7DAE5-A23E-1B6A-3E57-BD6BCB453317}"/>
              </a:ext>
            </a:extLst>
          </p:cNvPr>
          <p:cNvSpPr>
            <a:spLocks noGrp="1"/>
          </p:cNvSpPr>
          <p:nvPr>
            <p:ph type="ftr" sz="quarter" idx="11"/>
          </p:nvPr>
        </p:nvSpPr>
        <p:spPr/>
        <p:txBody>
          <a:bodyPr/>
          <a:lstStyle/>
          <a:p>
            <a:pPr algn="l"/>
            <a:r>
              <a:rPr lang="en-US"/>
              <a:t>Illinois Perinatal Quality Collaborative</a:t>
            </a:r>
          </a:p>
        </p:txBody>
      </p:sp>
      <p:pic>
        <p:nvPicPr>
          <p:cNvPr id="7" name="Picture 7" descr="Graphical user interface, text, application, email&#10;&#10;Description automatically generated">
            <a:extLst>
              <a:ext uri="{FF2B5EF4-FFF2-40B4-BE49-F238E27FC236}">
                <a16:creationId xmlns:a16="http://schemas.microsoft.com/office/drawing/2014/main" id="{35567C08-70A8-E1A4-D4E4-427A059CB853}"/>
              </a:ext>
            </a:extLst>
          </p:cNvPr>
          <p:cNvPicPr>
            <a:picLocks noChangeAspect="1"/>
          </p:cNvPicPr>
          <p:nvPr/>
        </p:nvPicPr>
        <p:blipFill>
          <a:blip r:embed="rId2"/>
          <a:stretch>
            <a:fillRect/>
          </a:stretch>
        </p:blipFill>
        <p:spPr>
          <a:xfrm>
            <a:off x="2052695" y="1147920"/>
            <a:ext cx="10146829" cy="5248897"/>
          </a:xfrm>
          <a:prstGeom prst="rect">
            <a:avLst/>
          </a:prstGeom>
        </p:spPr>
      </p:pic>
      <p:sp>
        <p:nvSpPr>
          <p:cNvPr id="9" name="Rectangle 8">
            <a:extLst>
              <a:ext uri="{FF2B5EF4-FFF2-40B4-BE49-F238E27FC236}">
                <a16:creationId xmlns:a16="http://schemas.microsoft.com/office/drawing/2014/main" id="{C8F0D69F-6678-2177-6F16-B73CF1ABE31F}"/>
              </a:ext>
            </a:extLst>
          </p:cNvPr>
          <p:cNvSpPr/>
          <p:nvPr/>
        </p:nvSpPr>
        <p:spPr>
          <a:xfrm>
            <a:off x="6373789" y="1412467"/>
            <a:ext cx="643323" cy="48013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9F5152BE-09E7-1531-BED9-686A243736A9}"/>
              </a:ext>
            </a:extLst>
          </p:cNvPr>
          <p:cNvSpPr/>
          <p:nvPr/>
        </p:nvSpPr>
        <p:spPr>
          <a:xfrm rot="2700000">
            <a:off x="5734000" y="1078566"/>
            <a:ext cx="725456" cy="14002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15B47E4-82F3-2F35-EF33-55C64F8A7941}"/>
              </a:ext>
            </a:extLst>
          </p:cNvPr>
          <p:cNvSpPr/>
          <p:nvPr/>
        </p:nvSpPr>
        <p:spPr>
          <a:xfrm>
            <a:off x="4012529" y="2588394"/>
            <a:ext cx="972582" cy="461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BE97E4E-8846-F9D1-BF5E-3713ECFDD377}"/>
              </a:ext>
            </a:extLst>
          </p:cNvPr>
          <p:cNvSpPr/>
          <p:nvPr/>
        </p:nvSpPr>
        <p:spPr>
          <a:xfrm>
            <a:off x="2338010" y="5485875"/>
            <a:ext cx="7172063" cy="82821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DD2F402A-8D54-E4FC-9EDE-BD5BC5EC08A2}"/>
              </a:ext>
            </a:extLst>
          </p:cNvPr>
          <p:cNvSpPr txBox="1"/>
          <p:nvPr/>
        </p:nvSpPr>
        <p:spPr>
          <a:xfrm>
            <a:off x="112888" y="1429925"/>
            <a:ext cx="2032000"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8. Tab 15 shows the percent of total deliveries with PREM completion.</a:t>
            </a:r>
          </a:p>
          <a:p>
            <a:endParaRPr lang="en-US" dirty="0">
              <a:cs typeface="Calibri"/>
            </a:endParaRPr>
          </a:p>
          <a:p>
            <a:r>
              <a:rPr lang="en-US" dirty="0">
                <a:cs typeface="Calibri"/>
              </a:rPr>
              <a:t>Click on "Report Type" to show monthly vs. Quarterly responses!</a:t>
            </a:r>
          </a:p>
          <a:p>
            <a:endParaRPr lang="en-US" dirty="0">
              <a:cs typeface="Calibri"/>
            </a:endParaRPr>
          </a:p>
          <a:p>
            <a:r>
              <a:rPr lang="en-US" dirty="0">
                <a:cs typeface="Calibri"/>
              </a:rPr>
              <a:t>At the bottom Monthly/Quarterly PREM Responses shows count of PREM surveys submitted.</a:t>
            </a:r>
          </a:p>
          <a:p>
            <a:endParaRPr lang="en-US" dirty="0">
              <a:cs typeface="Calibri"/>
            </a:endParaRPr>
          </a:p>
          <a:p>
            <a:endParaRPr lang="en-US" dirty="0">
              <a:cs typeface="Calibri"/>
            </a:endParaRPr>
          </a:p>
        </p:txBody>
      </p:sp>
      <p:sp>
        <p:nvSpPr>
          <p:cNvPr id="16" name="Arrow: Right 15">
            <a:extLst>
              <a:ext uri="{FF2B5EF4-FFF2-40B4-BE49-F238E27FC236}">
                <a16:creationId xmlns:a16="http://schemas.microsoft.com/office/drawing/2014/main" id="{5B6BB8C2-4092-0C94-3B7E-0EB0231F2EC2}"/>
              </a:ext>
            </a:extLst>
          </p:cNvPr>
          <p:cNvSpPr/>
          <p:nvPr/>
        </p:nvSpPr>
        <p:spPr>
          <a:xfrm>
            <a:off x="1585333" y="5829307"/>
            <a:ext cx="725456" cy="140025"/>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275061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66B332A4-D438-4773-A77F-5ED49A448D9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953768" y="0"/>
            <a:ext cx="8284464" cy="6858000"/>
          </a:xfrm>
          <a:custGeom>
            <a:avLst/>
            <a:gdLst>
              <a:gd name="connsiteX0" fmla="*/ 1818109 w 8284464"/>
              <a:gd name="connsiteY0" fmla="*/ 0 h 6858000"/>
              <a:gd name="connsiteX1" fmla="*/ 6466355 w 8284464"/>
              <a:gd name="connsiteY1" fmla="*/ 0 h 6858000"/>
              <a:gd name="connsiteX2" fmla="*/ 6620596 w 8284464"/>
              <a:gd name="connsiteY2" fmla="*/ 109683 h 6858000"/>
              <a:gd name="connsiteX3" fmla="*/ 8284464 w 8284464"/>
              <a:gd name="connsiteY3" fmla="*/ 3429000 h 6858000"/>
              <a:gd name="connsiteX4" fmla="*/ 6620596 w 8284464"/>
              <a:gd name="connsiteY4" fmla="*/ 6748318 h 6858000"/>
              <a:gd name="connsiteX5" fmla="*/ 6466355 w 8284464"/>
              <a:gd name="connsiteY5" fmla="*/ 6858000 h 6858000"/>
              <a:gd name="connsiteX6" fmla="*/ 1818109 w 8284464"/>
              <a:gd name="connsiteY6" fmla="*/ 6858000 h 6858000"/>
              <a:gd name="connsiteX7" fmla="*/ 1663869 w 8284464"/>
              <a:gd name="connsiteY7" fmla="*/ 6748318 h 6858000"/>
              <a:gd name="connsiteX8" fmla="*/ 0 w 8284464"/>
              <a:gd name="connsiteY8" fmla="*/ 3429000 h 6858000"/>
              <a:gd name="connsiteX9" fmla="*/ 1663869 w 8284464"/>
              <a:gd name="connsiteY9" fmla="*/ 1096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84464" h="6858000">
                <a:moveTo>
                  <a:pt x="1818109" y="0"/>
                </a:moveTo>
                <a:lnTo>
                  <a:pt x="6466355" y="0"/>
                </a:lnTo>
                <a:lnTo>
                  <a:pt x="6620596" y="109683"/>
                </a:lnTo>
                <a:cubicBezTo>
                  <a:pt x="7630666" y="865069"/>
                  <a:pt x="8284464" y="2070683"/>
                  <a:pt x="8284464" y="3429000"/>
                </a:cubicBezTo>
                <a:cubicBezTo>
                  <a:pt x="8284464" y="4787317"/>
                  <a:pt x="7630666" y="5992931"/>
                  <a:pt x="6620596" y="6748318"/>
                </a:cubicBezTo>
                <a:lnTo>
                  <a:pt x="6466355" y="6858000"/>
                </a:lnTo>
                <a:lnTo>
                  <a:pt x="1818109" y="6858000"/>
                </a:lnTo>
                <a:lnTo>
                  <a:pt x="1663869" y="6748318"/>
                </a:lnTo>
                <a:cubicBezTo>
                  <a:pt x="653798" y="5992931"/>
                  <a:pt x="0" y="4787317"/>
                  <a:pt x="0" y="3429000"/>
                </a:cubicBezTo>
                <a:cubicBezTo>
                  <a:pt x="0" y="2070683"/>
                  <a:pt x="653798" y="865069"/>
                  <a:pt x="1663869" y="109683"/>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Freeform: Shape 10">
            <a:extLst>
              <a:ext uri="{FF2B5EF4-FFF2-40B4-BE49-F238E27FC236}">
                <a16:creationId xmlns:a16="http://schemas.microsoft.com/office/drawing/2014/main" id="{DF9AD32D-FF05-44F4-BD4D-9CEE89B71E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18360" y="0"/>
            <a:ext cx="7955280" cy="6858000"/>
          </a:xfrm>
          <a:custGeom>
            <a:avLst/>
            <a:gdLst>
              <a:gd name="connsiteX0" fmla="*/ 1962423 w 7955280"/>
              <a:gd name="connsiteY0" fmla="*/ 0 h 6858000"/>
              <a:gd name="connsiteX1" fmla="*/ 5992858 w 7955280"/>
              <a:gd name="connsiteY1" fmla="*/ 0 h 6858000"/>
              <a:gd name="connsiteX2" fmla="*/ 6040191 w 7955280"/>
              <a:gd name="connsiteY2" fmla="*/ 27216 h 6858000"/>
              <a:gd name="connsiteX3" fmla="*/ 7955280 w 7955280"/>
              <a:gd name="connsiteY3" fmla="*/ 3429000 h 6858000"/>
              <a:gd name="connsiteX4" fmla="*/ 6040191 w 7955280"/>
              <a:gd name="connsiteY4" fmla="*/ 6830784 h 6858000"/>
              <a:gd name="connsiteX5" fmla="*/ 5992858 w 7955280"/>
              <a:gd name="connsiteY5" fmla="*/ 6858000 h 6858000"/>
              <a:gd name="connsiteX6" fmla="*/ 1962423 w 7955280"/>
              <a:gd name="connsiteY6" fmla="*/ 6858000 h 6858000"/>
              <a:gd name="connsiteX7" fmla="*/ 1915089 w 7955280"/>
              <a:gd name="connsiteY7" fmla="*/ 6830784 h 6858000"/>
              <a:gd name="connsiteX8" fmla="*/ 0 w 7955280"/>
              <a:gd name="connsiteY8" fmla="*/ 3429000 h 6858000"/>
              <a:gd name="connsiteX9" fmla="*/ 1915089 w 7955280"/>
              <a:gd name="connsiteY9" fmla="*/ 27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5280" h="6858000">
                <a:moveTo>
                  <a:pt x="1962423" y="0"/>
                </a:moveTo>
                <a:lnTo>
                  <a:pt x="5992858" y="0"/>
                </a:lnTo>
                <a:lnTo>
                  <a:pt x="6040191" y="27216"/>
                </a:lnTo>
                <a:cubicBezTo>
                  <a:pt x="7188332" y="724844"/>
                  <a:pt x="7955280" y="1987357"/>
                  <a:pt x="7955280" y="3429000"/>
                </a:cubicBezTo>
                <a:cubicBezTo>
                  <a:pt x="7955280" y="4870644"/>
                  <a:pt x="7188332" y="6133157"/>
                  <a:pt x="6040191" y="6830784"/>
                </a:cubicBezTo>
                <a:lnTo>
                  <a:pt x="5992858" y="6858000"/>
                </a:lnTo>
                <a:lnTo>
                  <a:pt x="1962423" y="6858000"/>
                </a:lnTo>
                <a:lnTo>
                  <a:pt x="1915089" y="6830784"/>
                </a:lnTo>
                <a:cubicBezTo>
                  <a:pt x="766948" y="6133157"/>
                  <a:pt x="0" y="4870644"/>
                  <a:pt x="0" y="3429000"/>
                </a:cubicBezTo>
                <a:cubicBezTo>
                  <a:pt x="0" y="1987357"/>
                  <a:pt x="766948" y="724844"/>
                  <a:pt x="1915089" y="27216"/>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142C6989-5496-E5B2-4A4F-41879A060C77}"/>
              </a:ext>
            </a:extLst>
          </p:cNvPr>
          <p:cNvSpPr>
            <a:spLocks noGrp="1"/>
          </p:cNvSpPr>
          <p:nvPr>
            <p:ph type="title"/>
          </p:nvPr>
        </p:nvSpPr>
        <p:spPr>
          <a:xfrm>
            <a:off x="2555631" y="1441938"/>
            <a:ext cx="7080738" cy="3974124"/>
          </a:xfrm>
        </p:spPr>
        <p:txBody>
          <a:bodyPr>
            <a:normAutofit/>
          </a:bodyPr>
          <a:lstStyle/>
          <a:p>
            <a:pPr algn="ctr">
              <a:lnSpc>
                <a:spcPct val="90000"/>
              </a:lnSpc>
            </a:pPr>
            <a:r>
              <a:rPr lang="en-US" sz="3400" dirty="0">
                <a:solidFill>
                  <a:schemeClr val="bg1">
                    <a:lumMod val="95000"/>
                    <a:lumOff val="5000"/>
                  </a:schemeClr>
                </a:solidFill>
                <a:ea typeface="Lato Medium"/>
                <a:cs typeface="Lato Medium"/>
              </a:rPr>
              <a:t>NEW </a:t>
            </a:r>
            <a:r>
              <a:rPr lang="en-US" sz="3400" dirty="0" err="1">
                <a:solidFill>
                  <a:schemeClr val="bg1">
                    <a:lumMod val="95000"/>
                    <a:lumOff val="5000"/>
                  </a:schemeClr>
                </a:solidFill>
                <a:ea typeface="Lato Medium"/>
                <a:cs typeface="Lato Medium"/>
              </a:rPr>
              <a:t>REDCap</a:t>
            </a:r>
            <a:r>
              <a:rPr lang="en-US" sz="3400" dirty="0">
                <a:solidFill>
                  <a:schemeClr val="bg1">
                    <a:lumMod val="95000"/>
                    <a:lumOff val="5000"/>
                  </a:schemeClr>
                </a:solidFill>
                <a:ea typeface="Lato Medium"/>
                <a:cs typeface="Lato Medium"/>
              </a:rPr>
              <a:t> FEATURE! Cumulative PREM Reports (Tab #16)</a:t>
            </a:r>
            <a:br>
              <a:rPr lang="en-US" sz="3400" dirty="0">
                <a:ea typeface="Lato Medium"/>
                <a:cs typeface="Lato Medium"/>
              </a:rPr>
            </a:br>
            <a:br>
              <a:rPr lang="en-US" sz="3400" dirty="0">
                <a:ea typeface="Lato Medium"/>
                <a:cs typeface="Lato Medium"/>
              </a:rPr>
            </a:br>
            <a:r>
              <a:rPr lang="en-US" sz="3400" dirty="0">
                <a:solidFill>
                  <a:schemeClr val="bg1">
                    <a:lumMod val="95000"/>
                    <a:lumOff val="5000"/>
                  </a:schemeClr>
                </a:solidFill>
                <a:ea typeface="Lato Medium"/>
                <a:cs typeface="Lato Medium"/>
              </a:rPr>
              <a:t>We heard you &amp; updated the PREM dashboard to include the ability to view all Cumulative PREM data on one tab</a:t>
            </a:r>
            <a:endParaRPr lang="en-US" sz="3400" dirty="0">
              <a:solidFill>
                <a:schemeClr val="bg1">
                  <a:lumMod val="95000"/>
                  <a:lumOff val="5000"/>
                </a:schemeClr>
              </a:solidFill>
            </a:endParaRPr>
          </a:p>
        </p:txBody>
      </p:sp>
      <p:sp>
        <p:nvSpPr>
          <p:cNvPr id="4" name="Footer Placeholder 3">
            <a:extLst>
              <a:ext uri="{FF2B5EF4-FFF2-40B4-BE49-F238E27FC236}">
                <a16:creationId xmlns:a16="http://schemas.microsoft.com/office/drawing/2014/main" id="{6047B8C4-68C9-BB42-BD5A-8C412634593E}"/>
              </a:ext>
            </a:extLst>
          </p:cNvPr>
          <p:cNvSpPr>
            <a:spLocks noGrp="1"/>
          </p:cNvSpPr>
          <p:nvPr>
            <p:ph type="ftr" sz="quarter" idx="11"/>
          </p:nvPr>
        </p:nvSpPr>
        <p:spPr>
          <a:xfrm>
            <a:off x="3892062" y="6199632"/>
            <a:ext cx="4407876" cy="365125"/>
          </a:xfrm>
        </p:spPr>
        <p:txBody>
          <a:bodyPr>
            <a:normAutofit/>
          </a:bodyPr>
          <a:lstStyle/>
          <a:p>
            <a:pPr>
              <a:spcAft>
                <a:spcPts val="600"/>
              </a:spcAft>
            </a:pPr>
            <a:r>
              <a:rPr lang="en-US" sz="1100">
                <a:solidFill>
                  <a:schemeClr val="bg1">
                    <a:alpha val="80000"/>
                  </a:schemeClr>
                </a:solidFill>
              </a:rPr>
              <a:t>Illinois Perinatal Quality Collaborative</a:t>
            </a:r>
          </a:p>
        </p:txBody>
      </p:sp>
      <p:sp>
        <p:nvSpPr>
          <p:cNvPr id="3" name="Slide Number Placeholder 2">
            <a:extLst>
              <a:ext uri="{FF2B5EF4-FFF2-40B4-BE49-F238E27FC236}">
                <a16:creationId xmlns:a16="http://schemas.microsoft.com/office/drawing/2014/main" id="{3A651688-BE55-F54E-085B-6A669EF8A8FA}"/>
              </a:ext>
            </a:extLst>
          </p:cNvPr>
          <p:cNvSpPr>
            <a:spLocks noGrp="1"/>
          </p:cNvSpPr>
          <p:nvPr>
            <p:ph type="sldNum" sz="quarter" idx="10"/>
          </p:nvPr>
        </p:nvSpPr>
        <p:spPr>
          <a:xfrm>
            <a:off x="11000232" y="6108192"/>
            <a:ext cx="548640" cy="548640"/>
          </a:xfrm>
          <a:prstGeom prst="ellipse">
            <a:avLst/>
          </a:prstGeom>
          <a:solidFill>
            <a:srgbClr val="7F7F7F"/>
          </a:solidFill>
        </p:spPr>
        <p:txBody>
          <a:bodyPr>
            <a:normAutofit/>
          </a:bodyPr>
          <a:lstStyle/>
          <a:p>
            <a:pPr algn="ctr">
              <a:spcAft>
                <a:spcPts val="600"/>
              </a:spcAft>
            </a:pPr>
            <a:fld id="{97033E4B-E3EB-3D46-B2D8-3159663620FA}" type="slidenum">
              <a:rPr lang="en-US" sz="1500">
                <a:solidFill>
                  <a:srgbClr val="FFFFFF"/>
                </a:solidFill>
              </a:rPr>
              <a:pPr algn="ctr">
                <a:spcAft>
                  <a:spcPts val="600"/>
                </a:spcAft>
              </a:pPr>
              <a:t>62</a:t>
            </a:fld>
            <a:endParaRPr lang="en-US" sz="1500">
              <a:solidFill>
                <a:srgbClr val="FFFFFF"/>
              </a:solidFill>
            </a:endParaRPr>
          </a:p>
        </p:txBody>
      </p:sp>
    </p:spTree>
    <p:extLst>
      <p:ext uri="{BB962C8B-B14F-4D97-AF65-F5344CB8AC3E}">
        <p14:creationId xmlns:p14="http://schemas.microsoft.com/office/powerpoint/2010/main" val="231532417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3">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5" name="Footer Placeholder 4">
            <a:extLst>
              <a:ext uri="{FF2B5EF4-FFF2-40B4-BE49-F238E27FC236}">
                <a16:creationId xmlns:a16="http://schemas.microsoft.com/office/drawing/2014/main" id="{10252CE5-4EB8-0BCB-ABA7-820C80462315}"/>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44F997E6-CAB8-93BB-097B-68D8BF762C75}"/>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63</a:t>
            </a:fld>
            <a:endParaRPr lang="en-US">
              <a:solidFill>
                <a:srgbClr val="FFFFFF"/>
              </a:solidFill>
            </a:endParaRPr>
          </a:p>
        </p:txBody>
      </p:sp>
      <p:pic>
        <p:nvPicPr>
          <p:cNvPr id="12" name="Picture 12" descr="Chart, bar chart&#10;&#10;Description automatically generated">
            <a:extLst>
              <a:ext uri="{FF2B5EF4-FFF2-40B4-BE49-F238E27FC236}">
                <a16:creationId xmlns:a16="http://schemas.microsoft.com/office/drawing/2014/main" id="{39AD4B04-16C9-D5E8-FEB5-21D79200E4F3}"/>
              </a:ext>
            </a:extLst>
          </p:cNvPr>
          <p:cNvPicPr>
            <a:picLocks noGrp="1" noChangeAspect="1"/>
          </p:cNvPicPr>
          <p:nvPr>
            <p:ph idx="1"/>
          </p:nvPr>
        </p:nvPicPr>
        <p:blipFill>
          <a:blip r:embed="rId2"/>
          <a:stretch>
            <a:fillRect/>
          </a:stretch>
        </p:blipFill>
        <p:spPr>
          <a:xfrm>
            <a:off x="144999" y="387485"/>
            <a:ext cx="11902002" cy="5832407"/>
          </a:xfrm>
        </p:spPr>
      </p:pic>
    </p:spTree>
    <p:extLst>
      <p:ext uri="{BB962C8B-B14F-4D97-AF65-F5344CB8AC3E}">
        <p14:creationId xmlns:p14="http://schemas.microsoft.com/office/powerpoint/2010/main" val="31817280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A picture containing graphical user interface&#10;&#10;Description automatically generated">
            <a:extLst>
              <a:ext uri="{FF2B5EF4-FFF2-40B4-BE49-F238E27FC236}">
                <a16:creationId xmlns:a16="http://schemas.microsoft.com/office/drawing/2014/main" id="{6052B437-B6F5-7CC9-A805-8E09AAB84D43}"/>
              </a:ext>
            </a:extLst>
          </p:cNvPr>
          <p:cNvPicPr>
            <a:picLocks noGrp="1" noChangeAspect="1"/>
          </p:cNvPicPr>
          <p:nvPr>
            <p:ph idx="1"/>
          </p:nvPr>
        </p:nvPicPr>
        <p:blipFill>
          <a:blip r:embed="rId2"/>
          <a:stretch>
            <a:fillRect/>
          </a:stretch>
        </p:blipFill>
        <p:spPr>
          <a:xfrm>
            <a:off x="643467" y="852678"/>
            <a:ext cx="10905066" cy="5152642"/>
          </a:xfrm>
          <a:prstGeom prst="rect">
            <a:avLst/>
          </a:prstGeom>
        </p:spPr>
      </p:pic>
      <p:sp>
        <p:nvSpPr>
          <p:cNvPr id="5" name="Footer Placeholder 4">
            <a:extLst>
              <a:ext uri="{FF2B5EF4-FFF2-40B4-BE49-F238E27FC236}">
                <a16:creationId xmlns:a16="http://schemas.microsoft.com/office/drawing/2014/main" id="{649BCE0A-63A5-0745-2D46-55CF3F3EF044}"/>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A662BFF2-F7C6-6D06-5EAC-36318EDF207A}"/>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mtClean="0">
                <a:solidFill>
                  <a:schemeClr val="tx1">
                    <a:tint val="75000"/>
                  </a:schemeClr>
                </a:solidFill>
              </a:rPr>
              <a:pPr>
                <a:spcAft>
                  <a:spcPts val="600"/>
                </a:spcAft>
              </a:pPr>
              <a:t>64</a:t>
            </a:fld>
            <a:endParaRPr lang="en-US">
              <a:solidFill>
                <a:schemeClr val="tx1">
                  <a:tint val="75000"/>
                </a:schemeClr>
              </a:solidFill>
            </a:endParaRPr>
          </a:p>
        </p:txBody>
      </p:sp>
    </p:spTree>
    <p:extLst>
      <p:ext uri="{BB962C8B-B14F-4D97-AF65-F5344CB8AC3E}">
        <p14:creationId xmlns:p14="http://schemas.microsoft.com/office/powerpoint/2010/main" val="8153807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A picture containing bar chart&#10;&#10;Description automatically generated">
            <a:extLst>
              <a:ext uri="{FF2B5EF4-FFF2-40B4-BE49-F238E27FC236}">
                <a16:creationId xmlns:a16="http://schemas.microsoft.com/office/drawing/2014/main" id="{CDBAF5C9-FE5F-2E8E-C527-B2C4B3A39131}"/>
              </a:ext>
            </a:extLst>
          </p:cNvPr>
          <p:cNvPicPr>
            <a:picLocks noGrp="1" noChangeAspect="1"/>
          </p:cNvPicPr>
          <p:nvPr>
            <p:ph idx="1"/>
          </p:nvPr>
        </p:nvPicPr>
        <p:blipFill>
          <a:blip r:embed="rId2"/>
          <a:stretch>
            <a:fillRect/>
          </a:stretch>
        </p:blipFill>
        <p:spPr>
          <a:xfrm>
            <a:off x="643467" y="1411562"/>
            <a:ext cx="10905066" cy="4034874"/>
          </a:xfrm>
          <a:prstGeom prst="rect">
            <a:avLst/>
          </a:prstGeom>
        </p:spPr>
      </p:pic>
      <p:sp>
        <p:nvSpPr>
          <p:cNvPr id="5" name="Footer Placeholder 4">
            <a:extLst>
              <a:ext uri="{FF2B5EF4-FFF2-40B4-BE49-F238E27FC236}">
                <a16:creationId xmlns:a16="http://schemas.microsoft.com/office/drawing/2014/main" id="{99D2AF3D-B268-0DDE-0583-97B577FE7704}"/>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DB045E77-9EC7-8735-5E64-3588EB6DFA10}"/>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mtClean="0">
                <a:solidFill>
                  <a:schemeClr val="tx1">
                    <a:tint val="75000"/>
                  </a:schemeClr>
                </a:solidFill>
              </a:rPr>
              <a:pPr>
                <a:spcAft>
                  <a:spcPts val="600"/>
                </a:spcAft>
              </a:pPr>
              <a:t>65</a:t>
            </a:fld>
            <a:endParaRPr lang="en-US">
              <a:solidFill>
                <a:schemeClr val="tx1">
                  <a:tint val="75000"/>
                </a:schemeClr>
              </a:solidFill>
            </a:endParaRPr>
          </a:p>
        </p:txBody>
      </p:sp>
    </p:spTree>
    <p:extLst>
      <p:ext uri="{BB962C8B-B14F-4D97-AF65-F5344CB8AC3E}">
        <p14:creationId xmlns:p14="http://schemas.microsoft.com/office/powerpoint/2010/main" val="23080818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Chart&#10;&#10;Description automatically generated">
            <a:extLst>
              <a:ext uri="{FF2B5EF4-FFF2-40B4-BE49-F238E27FC236}">
                <a16:creationId xmlns:a16="http://schemas.microsoft.com/office/drawing/2014/main" id="{2B61D1A6-9B7D-1C9C-0E81-873512DB6637}"/>
              </a:ext>
            </a:extLst>
          </p:cNvPr>
          <p:cNvPicPr>
            <a:picLocks noGrp="1" noChangeAspect="1"/>
          </p:cNvPicPr>
          <p:nvPr>
            <p:ph idx="1"/>
          </p:nvPr>
        </p:nvPicPr>
        <p:blipFill>
          <a:blip r:embed="rId2"/>
          <a:stretch>
            <a:fillRect/>
          </a:stretch>
        </p:blipFill>
        <p:spPr>
          <a:xfrm>
            <a:off x="643467" y="1479719"/>
            <a:ext cx="10905066" cy="3898560"/>
          </a:xfrm>
          <a:prstGeom prst="rect">
            <a:avLst/>
          </a:prstGeom>
        </p:spPr>
      </p:pic>
      <p:sp>
        <p:nvSpPr>
          <p:cNvPr id="5" name="Footer Placeholder 4">
            <a:extLst>
              <a:ext uri="{FF2B5EF4-FFF2-40B4-BE49-F238E27FC236}">
                <a16:creationId xmlns:a16="http://schemas.microsoft.com/office/drawing/2014/main" id="{E4F3D889-72BF-8984-2720-71563B8D266B}"/>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2B48B0DE-FD2D-D10F-14C9-B88992AF23FC}"/>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mtClean="0">
                <a:solidFill>
                  <a:schemeClr val="tx1">
                    <a:tint val="75000"/>
                  </a:schemeClr>
                </a:solidFill>
              </a:rPr>
              <a:pPr>
                <a:spcAft>
                  <a:spcPts val="600"/>
                </a:spcAft>
              </a:pPr>
              <a:t>66</a:t>
            </a:fld>
            <a:endParaRPr lang="en-US">
              <a:solidFill>
                <a:schemeClr val="tx1">
                  <a:tint val="75000"/>
                </a:schemeClr>
              </a:solidFill>
            </a:endParaRPr>
          </a:p>
        </p:txBody>
      </p:sp>
    </p:spTree>
    <p:extLst>
      <p:ext uri="{BB962C8B-B14F-4D97-AF65-F5344CB8AC3E}">
        <p14:creationId xmlns:p14="http://schemas.microsoft.com/office/powerpoint/2010/main" val="37242889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CF901-D5FE-4949-A792-2E5B786F97AF}"/>
              </a:ext>
            </a:extLst>
          </p:cNvPr>
          <p:cNvSpPr>
            <a:spLocks noGrp="1"/>
          </p:cNvSpPr>
          <p:nvPr>
            <p:ph type="title"/>
          </p:nvPr>
        </p:nvSpPr>
        <p:spPr>
          <a:xfrm>
            <a:off x="601133" y="-72232"/>
            <a:ext cx="10972800" cy="1325563"/>
          </a:xfrm>
        </p:spPr>
        <p:txBody>
          <a:bodyPr/>
          <a:lstStyle/>
          <a:p>
            <a:r>
              <a:rPr lang="en-US" dirty="0"/>
              <a:t>How to review your PREM Data</a:t>
            </a:r>
          </a:p>
        </p:txBody>
      </p:sp>
      <p:sp>
        <p:nvSpPr>
          <p:cNvPr id="3" name="Content Placeholder 2">
            <a:extLst>
              <a:ext uri="{FF2B5EF4-FFF2-40B4-BE49-F238E27FC236}">
                <a16:creationId xmlns:a16="http://schemas.microsoft.com/office/drawing/2014/main" id="{6434318B-F4C9-433A-992D-B2C042D3677C}"/>
              </a:ext>
            </a:extLst>
          </p:cNvPr>
          <p:cNvSpPr>
            <a:spLocks noGrp="1"/>
          </p:cNvSpPr>
          <p:nvPr>
            <p:ph idx="1"/>
          </p:nvPr>
        </p:nvSpPr>
        <p:spPr>
          <a:xfrm>
            <a:off x="499533" y="1177131"/>
            <a:ext cx="10972800" cy="4351338"/>
          </a:xfrm>
        </p:spPr>
        <p:txBody>
          <a:bodyPr/>
          <a:lstStyle/>
          <a:p>
            <a:pPr marL="457200" indent="-457200">
              <a:buFont typeface="+mj-lt"/>
              <a:buAutoNum type="arabicParenR"/>
            </a:pPr>
            <a:r>
              <a:rPr lang="en-US" sz="2800" b="1" dirty="0"/>
              <a:t>TAB 15 </a:t>
            </a:r>
            <a:r>
              <a:rPr lang="en-US" sz="2800" dirty="0"/>
              <a:t>=  Review overall % PREM completed out of all your deliveries</a:t>
            </a:r>
            <a:endParaRPr lang="en-US" dirty="0"/>
          </a:p>
          <a:p>
            <a:pPr lvl="1"/>
            <a:r>
              <a:rPr lang="en-US" sz="2400" dirty="0"/>
              <a:t>Track this % and share with your postpartum clinical team and post your goal</a:t>
            </a:r>
          </a:p>
          <a:p>
            <a:pPr marL="457200" indent="-457200">
              <a:buFont typeface="+mj-lt"/>
              <a:buAutoNum type="arabicParenR"/>
            </a:pPr>
            <a:r>
              <a:rPr lang="en-US" sz="2800" b="1" dirty="0"/>
              <a:t>Tab 16 </a:t>
            </a:r>
            <a:r>
              <a:rPr lang="en-US" sz="2800" dirty="0"/>
              <a:t>= </a:t>
            </a:r>
            <a:r>
              <a:rPr lang="en-US" sz="2800" b="1" dirty="0"/>
              <a:t>NEW,</a:t>
            </a:r>
            <a:r>
              <a:rPr lang="en-US" sz="2800" dirty="0"/>
              <a:t> a cumulative overview to compare all PREM questions </a:t>
            </a:r>
          </a:p>
          <a:p>
            <a:pPr lvl="1"/>
            <a:r>
              <a:rPr lang="en-US" sz="2400" b="1" dirty="0"/>
              <a:t>THIS IS THE MOST IMPORTANT TAB TO REVIEW and SHARE YOUR PREM DATA</a:t>
            </a:r>
          </a:p>
          <a:p>
            <a:pPr marL="457200" indent="-457200">
              <a:buFont typeface="+mj-lt"/>
              <a:buAutoNum type="arabicParenR"/>
            </a:pPr>
            <a:r>
              <a:rPr lang="en-US" sz="2800" b="1" dirty="0"/>
              <a:t>Tab 1-14 </a:t>
            </a:r>
            <a:r>
              <a:rPr lang="en-US" sz="2800" dirty="0"/>
              <a:t>= individual PREM questions to drill down on </a:t>
            </a:r>
          </a:p>
          <a:p>
            <a:pPr marL="457200" indent="-457200">
              <a:buFont typeface="+mj-lt"/>
              <a:buAutoNum type="arabicParenR"/>
            </a:pPr>
            <a:r>
              <a:rPr lang="en-US" sz="2800" b="1" dirty="0"/>
              <a:t>Stratify data </a:t>
            </a:r>
            <a:r>
              <a:rPr lang="en-US" sz="2800" dirty="0"/>
              <a:t>- Need &gt; 10 patients per group, ideally more than 30 </a:t>
            </a:r>
          </a:p>
          <a:p>
            <a:pPr lvl="1"/>
            <a:r>
              <a:rPr lang="en-US" sz="2400" dirty="0"/>
              <a:t>To stratify data by race/ethnicity or by insurance look at data quarterly,  by 6 months or a year or cumulative, only review monthly if you have enough patients across each group you are comparing (at least &gt; 10)</a:t>
            </a:r>
          </a:p>
          <a:p>
            <a:pPr marL="0" indent="0">
              <a:buNone/>
            </a:pPr>
            <a:endParaRPr lang="en-US" sz="2400" b="1" dirty="0"/>
          </a:p>
        </p:txBody>
      </p:sp>
      <p:sp>
        <p:nvSpPr>
          <p:cNvPr id="4" name="Slide Number Placeholder 3">
            <a:extLst>
              <a:ext uri="{FF2B5EF4-FFF2-40B4-BE49-F238E27FC236}">
                <a16:creationId xmlns:a16="http://schemas.microsoft.com/office/drawing/2014/main" id="{310F16EA-A27A-4E9F-ADDE-994AF8B8A2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29577D9-6A0C-475A-A1DD-192B992C76E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225524668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816766"/>
            <a:ext cx="10659342" cy="2014679"/>
          </a:xfrm>
        </p:spPr>
        <p:txBody>
          <a:bodyPr/>
          <a:lstStyle/>
          <a:p>
            <a:r>
              <a:rPr lang="en-US" dirty="0">
                <a:ea typeface="Lato Medium"/>
                <a:cs typeface="Lato Medium"/>
              </a:rPr>
              <a:t>Team Talk: Swedish American Hospital, Rockford, IL</a:t>
            </a:r>
          </a:p>
        </p:txBody>
      </p:sp>
      <p:sp>
        <p:nvSpPr>
          <p:cNvPr id="3" name="Subtitle 2"/>
          <p:cNvSpPr>
            <a:spLocks noGrp="1"/>
          </p:cNvSpPr>
          <p:nvPr>
            <p:ph type="subTitle" idx="1"/>
          </p:nvPr>
        </p:nvSpPr>
        <p:spPr>
          <a:xfrm>
            <a:off x="1413310" y="2952243"/>
            <a:ext cx="9365380" cy="2223021"/>
          </a:xfrm>
        </p:spPr>
        <p:txBody>
          <a:bodyPr vert="horz" lIns="91440" tIns="45720" rIns="91440" bIns="45720" rtlCol="0" anchor="t">
            <a:noAutofit/>
          </a:bodyPr>
          <a:lstStyle/>
          <a:p>
            <a:pPr>
              <a:spcBef>
                <a:spcPts val="0"/>
              </a:spcBef>
              <a:spcAft>
                <a:spcPts val="0"/>
              </a:spcAft>
            </a:pPr>
            <a:r>
              <a:rPr lang="en-US" b="1" dirty="0">
                <a:ea typeface="Lato"/>
                <a:cs typeface="Calibri"/>
              </a:rPr>
              <a:t>Jan Southard, MHA, BSN, RNC-MNN</a:t>
            </a:r>
            <a:endParaRPr lang="en-US" b="1" dirty="0">
              <a:cs typeface="Calibri"/>
            </a:endParaRPr>
          </a:p>
          <a:p>
            <a:pPr>
              <a:spcBef>
                <a:spcPts val="0"/>
              </a:spcBef>
              <a:spcAft>
                <a:spcPts val="0"/>
              </a:spcAft>
            </a:pPr>
            <a:r>
              <a:rPr lang="en-US" b="1" dirty="0">
                <a:ea typeface="Lato"/>
                <a:cs typeface="Calibri"/>
              </a:rPr>
              <a:t>Courtney Pemberton, MSN, RNC-OB, C-EFM</a:t>
            </a:r>
            <a:endParaRPr lang="en-US" b="1" dirty="0">
              <a:cs typeface="Calibri"/>
            </a:endParaRPr>
          </a:p>
          <a:p>
            <a:endParaRPr lang="en-US">
              <a:cs typeface="Calibri"/>
            </a:endParaRPr>
          </a:p>
        </p:txBody>
      </p:sp>
    </p:spTree>
    <p:extLst>
      <p:ext uri="{BB962C8B-B14F-4D97-AF65-F5344CB8AC3E}">
        <p14:creationId xmlns:p14="http://schemas.microsoft.com/office/powerpoint/2010/main" val="103885789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6ACBB43-5C7B-084B-877B-5EF90931306D}" type="slidenum">
              <a:rPr lang="en-US" smtClean="0"/>
              <a:pPr/>
              <a:t>69</a:t>
            </a:fld>
            <a:endParaRPr lang="en-US" dirty="0"/>
          </a:p>
        </p:txBody>
      </p:sp>
      <p:sp>
        <p:nvSpPr>
          <p:cNvPr id="5" name="Title 4"/>
          <p:cNvSpPr>
            <a:spLocks noGrp="1"/>
          </p:cNvSpPr>
          <p:nvPr>
            <p:ph type="title"/>
          </p:nvPr>
        </p:nvSpPr>
        <p:spPr/>
        <p:txBody>
          <a:bodyPr/>
          <a:lstStyle/>
          <a:p>
            <a:r>
              <a:rPr lang="en-US" dirty="0"/>
              <a:t>UW Health- Swedish American Hospital Strategies</a:t>
            </a:r>
          </a:p>
        </p:txBody>
      </p:sp>
      <p:sp>
        <p:nvSpPr>
          <p:cNvPr id="6" name="Text Placeholder 5"/>
          <p:cNvSpPr>
            <a:spLocks noGrp="1"/>
          </p:cNvSpPr>
          <p:nvPr>
            <p:ph type="body" sz="quarter" idx="14"/>
          </p:nvPr>
        </p:nvSpPr>
        <p:spPr>
          <a:xfrm>
            <a:off x="1239877" y="4339543"/>
            <a:ext cx="5626639" cy="685218"/>
          </a:xfrm>
        </p:spPr>
        <p:txBody>
          <a:bodyPr>
            <a:normAutofit fontScale="85000" lnSpcReduction="20000"/>
          </a:bodyPr>
          <a:lstStyle/>
          <a:p>
            <a:r>
              <a:rPr lang="en-US" dirty="0"/>
              <a:t>Presented by: </a:t>
            </a:r>
          </a:p>
          <a:p>
            <a:r>
              <a:rPr lang="en-US" dirty="0"/>
              <a:t>Jan Southard, MHA, BSN, RNC-MNN</a:t>
            </a:r>
          </a:p>
          <a:p>
            <a:r>
              <a:rPr lang="en-US" dirty="0"/>
              <a:t>Courtney Pemberton, MSN, RNC-OB, C-EFM</a:t>
            </a:r>
          </a:p>
        </p:txBody>
      </p:sp>
    </p:spTree>
    <p:extLst>
      <p:ext uri="{BB962C8B-B14F-4D97-AF65-F5344CB8AC3E}">
        <p14:creationId xmlns:p14="http://schemas.microsoft.com/office/powerpoint/2010/main" val="27110957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3"/>
          <a:stretch>
            <a:fillRect/>
          </a:stretch>
        </p:blipFill>
        <p:spPr>
          <a:xfrm>
            <a:off x="1760540" y="643467"/>
            <a:ext cx="8670919"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7</a:t>
            </a:fld>
            <a:endParaRPr lang="en-US">
              <a:solidFill>
                <a:srgbClr val="FFFFFF"/>
              </a:solidFill>
            </a:endParaRPr>
          </a:p>
        </p:txBody>
      </p:sp>
      <p:sp>
        <p:nvSpPr>
          <p:cNvPr id="3" name="Star: 5 Points 2">
            <a:extLst>
              <a:ext uri="{FF2B5EF4-FFF2-40B4-BE49-F238E27FC236}">
                <a16:creationId xmlns:a16="http://schemas.microsoft.com/office/drawing/2014/main" id="{53507C8D-E165-7E24-4F16-3D0535558582}"/>
              </a:ext>
            </a:extLst>
          </p:cNvPr>
          <p:cNvSpPr/>
          <p:nvPr/>
        </p:nvSpPr>
        <p:spPr>
          <a:xfrm>
            <a:off x="9513236" y="4310594"/>
            <a:ext cx="2372264" cy="222849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Calibri"/>
            </a:endParaRPr>
          </a:p>
        </p:txBody>
      </p:sp>
      <p:sp>
        <p:nvSpPr>
          <p:cNvPr id="7" name="TextBox 6">
            <a:extLst>
              <a:ext uri="{FF2B5EF4-FFF2-40B4-BE49-F238E27FC236}">
                <a16:creationId xmlns:a16="http://schemas.microsoft.com/office/drawing/2014/main" id="{687A311F-0FDC-D52D-5C04-0E8CA3C7745E}"/>
              </a:ext>
            </a:extLst>
          </p:cNvPr>
          <p:cNvSpPr txBox="1"/>
          <p:nvPr/>
        </p:nvSpPr>
        <p:spPr>
          <a:xfrm>
            <a:off x="9999126" y="5129448"/>
            <a:ext cx="138545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solidFill>
                  <a:schemeClr val="bg1"/>
                </a:solidFill>
                <a:cs typeface="Calibri" panose="020F0502020204030204"/>
              </a:rPr>
              <a:t>Register on the ILPQC website!</a:t>
            </a:r>
          </a:p>
        </p:txBody>
      </p:sp>
      <p:sp>
        <p:nvSpPr>
          <p:cNvPr id="2" name="Rectangle: Rounded Corners 1">
            <a:extLst>
              <a:ext uri="{FF2B5EF4-FFF2-40B4-BE49-F238E27FC236}">
                <a16:creationId xmlns:a16="http://schemas.microsoft.com/office/drawing/2014/main" id="{241F9A3D-B0CB-B820-10D8-C0896B448D5E}"/>
              </a:ext>
            </a:extLst>
          </p:cNvPr>
          <p:cNvSpPr/>
          <p:nvPr/>
        </p:nvSpPr>
        <p:spPr>
          <a:xfrm>
            <a:off x="6306403" y="3059372"/>
            <a:ext cx="3696268" cy="4776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Registration OPEN!</a:t>
            </a:r>
            <a:endParaRPr lang="en-US"/>
          </a:p>
        </p:txBody>
      </p:sp>
    </p:spTree>
    <p:extLst>
      <p:ext uri="{BB962C8B-B14F-4D97-AF65-F5344CB8AC3E}">
        <p14:creationId xmlns:p14="http://schemas.microsoft.com/office/powerpoint/2010/main" val="29249483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29F8E-112B-2B6D-5B7D-E626AFBFEEAF}"/>
              </a:ext>
            </a:extLst>
          </p:cNvPr>
          <p:cNvSpPr>
            <a:spLocks noGrp="1"/>
          </p:cNvSpPr>
          <p:nvPr>
            <p:ph type="title"/>
          </p:nvPr>
        </p:nvSpPr>
        <p:spPr/>
        <p:txBody>
          <a:bodyPr/>
          <a:lstStyle/>
          <a:p>
            <a:r>
              <a:rPr lang="en-US" dirty="0"/>
              <a:t>Respectful Care Practices</a:t>
            </a:r>
          </a:p>
        </p:txBody>
      </p:sp>
      <p:sp>
        <p:nvSpPr>
          <p:cNvPr id="3" name="Content Placeholder 2">
            <a:extLst>
              <a:ext uri="{FF2B5EF4-FFF2-40B4-BE49-F238E27FC236}">
                <a16:creationId xmlns:a16="http://schemas.microsoft.com/office/drawing/2014/main" id="{D254C408-DB5F-AB98-7E88-13952591ADA6}"/>
              </a:ext>
            </a:extLst>
          </p:cNvPr>
          <p:cNvSpPr>
            <a:spLocks noGrp="1"/>
          </p:cNvSpPr>
          <p:nvPr>
            <p:ph idx="1"/>
          </p:nvPr>
        </p:nvSpPr>
        <p:spPr>
          <a:xfrm>
            <a:off x="1389321" y="1477151"/>
            <a:ext cx="4041095" cy="4307435"/>
          </a:xfrm>
        </p:spPr>
        <p:txBody>
          <a:bodyPr>
            <a:normAutofit fontScale="85000" lnSpcReduction="20000"/>
          </a:bodyPr>
          <a:lstStyle/>
          <a:p>
            <a:r>
              <a:rPr lang="en-US" dirty="0"/>
              <a:t>Outpatient setting still work in progress</a:t>
            </a:r>
          </a:p>
          <a:p>
            <a:r>
              <a:rPr lang="en-US" dirty="0"/>
              <a:t>Discussion begins at hospital on admission</a:t>
            </a:r>
          </a:p>
          <a:p>
            <a:r>
              <a:rPr lang="en-US" dirty="0"/>
              <a:t>The “flow” is all patient dependent </a:t>
            </a:r>
          </a:p>
          <a:p>
            <a:r>
              <a:rPr lang="en-US" dirty="0"/>
              <a:t>Standard admission- reviewed with patient by giving laminated handout for them to read while nurse gives brief overview</a:t>
            </a:r>
          </a:p>
        </p:txBody>
      </p:sp>
      <p:sp>
        <p:nvSpPr>
          <p:cNvPr id="4" name="Slide Number Placeholder 3">
            <a:extLst>
              <a:ext uri="{FF2B5EF4-FFF2-40B4-BE49-F238E27FC236}">
                <a16:creationId xmlns:a16="http://schemas.microsoft.com/office/drawing/2014/main" id="{562E4DEA-A7D0-C884-9628-7852137382A9}"/>
              </a:ext>
            </a:extLst>
          </p:cNvPr>
          <p:cNvSpPr>
            <a:spLocks noGrp="1"/>
          </p:cNvSpPr>
          <p:nvPr>
            <p:ph type="sldNum" sz="quarter" idx="12"/>
          </p:nvPr>
        </p:nvSpPr>
        <p:spPr/>
        <p:txBody>
          <a:bodyPr/>
          <a:lstStyle/>
          <a:p>
            <a:fld id="{96ACBB43-5C7B-084B-877B-5EF90931306D}" type="slidenum">
              <a:rPr lang="en-US" smtClean="0"/>
              <a:pPr/>
              <a:t>70</a:t>
            </a:fld>
            <a:endParaRPr lang="en-US" dirty="0"/>
          </a:p>
        </p:txBody>
      </p:sp>
      <p:pic>
        <p:nvPicPr>
          <p:cNvPr id="5" name="Picture 7">
            <a:extLst>
              <a:ext uri="{FF2B5EF4-FFF2-40B4-BE49-F238E27FC236}">
                <a16:creationId xmlns:a16="http://schemas.microsoft.com/office/drawing/2014/main" id="{BD513C3E-593E-A1A6-9E45-61E3DD60C2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18603" y="1101956"/>
            <a:ext cx="3940809" cy="525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308231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9320" y="720323"/>
            <a:ext cx="9854317" cy="390523"/>
          </a:xfrm>
        </p:spPr>
        <p:txBody>
          <a:bodyPr/>
          <a:lstStyle/>
          <a:p>
            <a:r>
              <a:rPr lang="en-US" dirty="0"/>
              <a:t>PREM Survey buy-in</a:t>
            </a:r>
          </a:p>
        </p:txBody>
      </p:sp>
      <p:sp>
        <p:nvSpPr>
          <p:cNvPr id="3" name="Content Placeholder 2"/>
          <p:cNvSpPr>
            <a:spLocks noGrp="1"/>
          </p:cNvSpPr>
          <p:nvPr>
            <p:ph idx="1"/>
          </p:nvPr>
        </p:nvSpPr>
        <p:spPr/>
        <p:txBody>
          <a:bodyPr>
            <a:normAutofit/>
          </a:bodyPr>
          <a:lstStyle/>
          <a:p>
            <a:r>
              <a:rPr lang="en-US" dirty="0"/>
              <a:t>Staff buy-in</a:t>
            </a:r>
          </a:p>
          <a:p>
            <a:pPr lvl="1"/>
            <a:r>
              <a:rPr lang="en-US" dirty="0"/>
              <a:t>Provided education</a:t>
            </a:r>
          </a:p>
          <a:p>
            <a:pPr lvl="1"/>
            <a:r>
              <a:rPr lang="en-US" dirty="0"/>
              <a:t>Tried to make it a seamless transition</a:t>
            </a:r>
          </a:p>
          <a:p>
            <a:r>
              <a:rPr lang="en-US" dirty="0"/>
              <a:t>Patient buy-in</a:t>
            </a:r>
          </a:p>
          <a:p>
            <a:pPr lvl="1"/>
            <a:r>
              <a:rPr lang="en-US" dirty="0"/>
              <a:t>Scripting is HUGE</a:t>
            </a:r>
          </a:p>
        </p:txBody>
      </p:sp>
      <p:sp>
        <p:nvSpPr>
          <p:cNvPr id="4" name="Slide Number Placeholder 3"/>
          <p:cNvSpPr>
            <a:spLocks noGrp="1"/>
          </p:cNvSpPr>
          <p:nvPr>
            <p:ph type="sldNum" sz="quarter" idx="12"/>
          </p:nvPr>
        </p:nvSpPr>
        <p:spPr/>
        <p:txBody>
          <a:bodyPr/>
          <a:lstStyle/>
          <a:p>
            <a:fld id="{96ACBB43-5C7B-084B-877B-5EF90931306D}" type="slidenum">
              <a:rPr lang="en-US" smtClean="0"/>
              <a:pPr/>
              <a:t>71</a:t>
            </a:fld>
            <a:endParaRPr lang="en-US" dirty="0"/>
          </a:p>
        </p:txBody>
      </p:sp>
    </p:spTree>
    <p:extLst>
      <p:ext uri="{BB962C8B-B14F-4D97-AF65-F5344CB8AC3E}">
        <p14:creationId xmlns:p14="http://schemas.microsoft.com/office/powerpoint/2010/main" val="131164003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71EF3D-1086-4BBE-E0FE-31523A4C44C7}"/>
              </a:ext>
            </a:extLst>
          </p:cNvPr>
          <p:cNvSpPr>
            <a:spLocks noGrp="1"/>
          </p:cNvSpPr>
          <p:nvPr>
            <p:ph type="title"/>
          </p:nvPr>
        </p:nvSpPr>
        <p:spPr/>
        <p:txBody>
          <a:bodyPr/>
          <a:lstStyle/>
          <a:p>
            <a:r>
              <a:rPr lang="en-US" dirty="0"/>
              <a:t>PREM Survey Completion</a:t>
            </a:r>
          </a:p>
        </p:txBody>
      </p:sp>
      <p:sp>
        <p:nvSpPr>
          <p:cNvPr id="3" name="Content Placeholder 2">
            <a:extLst>
              <a:ext uri="{FF2B5EF4-FFF2-40B4-BE49-F238E27FC236}">
                <a16:creationId xmlns:a16="http://schemas.microsoft.com/office/drawing/2014/main" id="{7C6D18B0-DD32-67F7-4AF8-8F64CB6C090C}"/>
              </a:ext>
            </a:extLst>
          </p:cNvPr>
          <p:cNvSpPr>
            <a:spLocks noGrp="1"/>
          </p:cNvSpPr>
          <p:nvPr>
            <p:ph idx="1"/>
          </p:nvPr>
        </p:nvSpPr>
        <p:spPr/>
        <p:txBody>
          <a:bodyPr/>
          <a:lstStyle/>
          <a:p>
            <a:r>
              <a:rPr lang="en-US" dirty="0"/>
              <a:t>Strategies: </a:t>
            </a:r>
          </a:p>
          <a:p>
            <a:pPr lvl="1"/>
            <a:r>
              <a:rPr lang="en-US" dirty="0"/>
              <a:t>Offer patients incentive for completing </a:t>
            </a:r>
          </a:p>
          <a:p>
            <a:pPr lvl="1"/>
            <a:r>
              <a:rPr lang="en-US" dirty="0"/>
              <a:t>Utilize our Birth Registrars</a:t>
            </a:r>
          </a:p>
          <a:p>
            <a:pPr lvl="1"/>
            <a:r>
              <a:rPr lang="en-US" dirty="0"/>
              <a:t>Increased the use of iPads rather than phone</a:t>
            </a:r>
          </a:p>
        </p:txBody>
      </p:sp>
      <p:sp>
        <p:nvSpPr>
          <p:cNvPr id="4" name="Slide Number Placeholder 3">
            <a:extLst>
              <a:ext uri="{FF2B5EF4-FFF2-40B4-BE49-F238E27FC236}">
                <a16:creationId xmlns:a16="http://schemas.microsoft.com/office/drawing/2014/main" id="{784B92D0-71F2-E6E8-E7EE-F95EB43433B8}"/>
              </a:ext>
            </a:extLst>
          </p:cNvPr>
          <p:cNvSpPr>
            <a:spLocks noGrp="1"/>
          </p:cNvSpPr>
          <p:nvPr>
            <p:ph type="sldNum" sz="quarter" idx="12"/>
          </p:nvPr>
        </p:nvSpPr>
        <p:spPr/>
        <p:txBody>
          <a:bodyPr/>
          <a:lstStyle/>
          <a:p>
            <a:fld id="{96ACBB43-5C7B-084B-877B-5EF90931306D}" type="slidenum">
              <a:rPr lang="en-US" smtClean="0"/>
              <a:pPr/>
              <a:t>72</a:t>
            </a:fld>
            <a:endParaRPr lang="en-US" dirty="0"/>
          </a:p>
        </p:txBody>
      </p:sp>
    </p:spTree>
    <p:extLst>
      <p:ext uri="{BB962C8B-B14F-4D97-AF65-F5344CB8AC3E}">
        <p14:creationId xmlns:p14="http://schemas.microsoft.com/office/powerpoint/2010/main" val="372170836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85E093-F978-2269-68C2-AC24B2A67477}"/>
              </a:ext>
            </a:extLst>
          </p:cNvPr>
          <p:cNvSpPr>
            <a:spLocks noGrp="1"/>
          </p:cNvSpPr>
          <p:nvPr>
            <p:ph type="title"/>
          </p:nvPr>
        </p:nvSpPr>
        <p:spPr/>
        <p:txBody>
          <a:bodyPr/>
          <a:lstStyle/>
          <a:p>
            <a:r>
              <a:rPr lang="en-US" dirty="0"/>
              <a:t>PREM Survey Results Leading to Improvements	</a:t>
            </a:r>
          </a:p>
        </p:txBody>
      </p:sp>
      <p:sp>
        <p:nvSpPr>
          <p:cNvPr id="3" name="Content Placeholder 2">
            <a:extLst>
              <a:ext uri="{FF2B5EF4-FFF2-40B4-BE49-F238E27FC236}">
                <a16:creationId xmlns:a16="http://schemas.microsoft.com/office/drawing/2014/main" id="{9DA094AA-E05B-EFB9-DE85-DD84AA515D27}"/>
              </a:ext>
            </a:extLst>
          </p:cNvPr>
          <p:cNvSpPr>
            <a:spLocks noGrp="1"/>
          </p:cNvSpPr>
          <p:nvPr>
            <p:ph idx="1"/>
          </p:nvPr>
        </p:nvSpPr>
        <p:spPr/>
        <p:txBody>
          <a:bodyPr/>
          <a:lstStyle/>
          <a:p>
            <a:r>
              <a:rPr lang="en-US" dirty="0"/>
              <a:t>End of year 2022 reviewed scores month by month</a:t>
            </a:r>
          </a:p>
          <a:p>
            <a:r>
              <a:rPr lang="en-US" dirty="0"/>
              <a:t>Helped us plan our focus areas for 2023</a:t>
            </a:r>
          </a:p>
          <a:p>
            <a:r>
              <a:rPr lang="en-US" dirty="0"/>
              <a:t>Transparent with all data to staff and providers (given out quarterly)</a:t>
            </a:r>
          </a:p>
          <a:p>
            <a:endParaRPr lang="en-US" dirty="0"/>
          </a:p>
          <a:p>
            <a:endParaRPr lang="en-US" dirty="0"/>
          </a:p>
        </p:txBody>
      </p:sp>
      <p:sp>
        <p:nvSpPr>
          <p:cNvPr id="4" name="Slide Number Placeholder 3">
            <a:extLst>
              <a:ext uri="{FF2B5EF4-FFF2-40B4-BE49-F238E27FC236}">
                <a16:creationId xmlns:a16="http://schemas.microsoft.com/office/drawing/2014/main" id="{BE6EC7B3-4248-560E-A1D0-5ED83A28EC41}"/>
              </a:ext>
            </a:extLst>
          </p:cNvPr>
          <p:cNvSpPr>
            <a:spLocks noGrp="1"/>
          </p:cNvSpPr>
          <p:nvPr>
            <p:ph type="sldNum" sz="quarter" idx="12"/>
          </p:nvPr>
        </p:nvSpPr>
        <p:spPr/>
        <p:txBody>
          <a:bodyPr/>
          <a:lstStyle/>
          <a:p>
            <a:fld id="{96ACBB43-5C7B-084B-877B-5EF90931306D}" type="slidenum">
              <a:rPr lang="en-US" smtClean="0"/>
              <a:pPr/>
              <a:t>73</a:t>
            </a:fld>
            <a:endParaRPr lang="en-US" dirty="0"/>
          </a:p>
        </p:txBody>
      </p:sp>
    </p:spTree>
    <p:extLst>
      <p:ext uri="{BB962C8B-B14F-4D97-AF65-F5344CB8AC3E}">
        <p14:creationId xmlns:p14="http://schemas.microsoft.com/office/powerpoint/2010/main" val="16757265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816766"/>
            <a:ext cx="10659342" cy="2014679"/>
          </a:xfrm>
        </p:spPr>
        <p:txBody>
          <a:bodyPr/>
          <a:lstStyle/>
          <a:p>
            <a:r>
              <a:rPr lang="en-US" dirty="0">
                <a:ea typeface="Lato Medium"/>
                <a:cs typeface="Lato Medium"/>
              </a:rPr>
              <a:t>Team Talk: Advocate Illinois Masonic Medical Center, Chicago, IL</a:t>
            </a:r>
          </a:p>
        </p:txBody>
      </p:sp>
      <p:sp>
        <p:nvSpPr>
          <p:cNvPr id="3" name="Subtitle 2"/>
          <p:cNvSpPr>
            <a:spLocks noGrp="1"/>
          </p:cNvSpPr>
          <p:nvPr>
            <p:ph type="subTitle" idx="1"/>
          </p:nvPr>
        </p:nvSpPr>
        <p:spPr>
          <a:xfrm>
            <a:off x="1413310" y="2952243"/>
            <a:ext cx="9365380" cy="2223021"/>
          </a:xfrm>
        </p:spPr>
        <p:txBody>
          <a:bodyPr vert="horz" lIns="91440" tIns="45720" rIns="91440" bIns="45720" rtlCol="0" anchor="t">
            <a:noAutofit/>
          </a:bodyPr>
          <a:lstStyle/>
          <a:p>
            <a:pPr>
              <a:spcBef>
                <a:spcPts val="0"/>
              </a:spcBef>
              <a:spcAft>
                <a:spcPts val="0"/>
              </a:spcAft>
            </a:pPr>
            <a:r>
              <a:rPr lang="en-US" b="1" dirty="0">
                <a:ea typeface="Lato"/>
                <a:cs typeface="Calibri"/>
              </a:rPr>
              <a:t>Laura Prisby, BSN, RNC-MNN, IBCLC </a:t>
            </a:r>
            <a:endParaRPr lang="en-US" b="1" dirty="0">
              <a:cs typeface="Calibri"/>
            </a:endParaRPr>
          </a:p>
          <a:p>
            <a:endParaRPr lang="en-US">
              <a:cs typeface="Calibri"/>
            </a:endParaRPr>
          </a:p>
        </p:txBody>
      </p:sp>
    </p:spTree>
    <p:extLst>
      <p:ext uri="{BB962C8B-B14F-4D97-AF65-F5344CB8AC3E}">
        <p14:creationId xmlns:p14="http://schemas.microsoft.com/office/powerpoint/2010/main" val="26101774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a:xfrm>
            <a:off x="2826555" y="5400857"/>
            <a:ext cx="8178613" cy="381708"/>
          </a:xfrm>
        </p:spPr>
        <p:txBody>
          <a:bodyPr wrap="square" lIns="121920" tIns="60960" rIns="121920" bIns="60960" anchor="t">
            <a:spAutoFit/>
          </a:bodyPr>
          <a:lstStyle/>
          <a:p>
            <a:r>
              <a:rPr lang="en-US">
                <a:latin typeface="Verdana"/>
                <a:ea typeface="Verdana"/>
              </a:rPr>
              <a:t>4/17/23     Laura Prisby, BSN, RNC-MNN, IBCLC</a:t>
            </a:r>
            <a:endParaRPr lang="en-US"/>
          </a:p>
        </p:txBody>
      </p:sp>
      <p:sp>
        <p:nvSpPr>
          <p:cNvPr id="4" name="Title 3"/>
          <p:cNvSpPr>
            <a:spLocks noGrp="1"/>
          </p:cNvSpPr>
          <p:nvPr>
            <p:ph type="ctrTitle"/>
          </p:nvPr>
        </p:nvSpPr>
        <p:spPr/>
        <p:txBody>
          <a:bodyPr lIns="121920" tIns="60960" rIns="121920" bIns="60960" anchor="b"/>
          <a:lstStyle/>
          <a:p>
            <a:r>
              <a:rPr lang="en-US">
                <a:solidFill>
                  <a:schemeClr val="tx2"/>
                </a:solidFill>
                <a:latin typeface="Verdana"/>
                <a:ea typeface="Verdana"/>
              </a:rPr>
              <a:t>Implementation of the PREM Survey at Illinois Masonic Medical Center</a:t>
            </a:r>
            <a:endParaRPr lang="en-US">
              <a:solidFill>
                <a:schemeClr val="tx2"/>
              </a:solidFill>
            </a:endParaRPr>
          </a:p>
        </p:txBody>
      </p:sp>
      <p:sp>
        <p:nvSpPr>
          <p:cNvPr id="5" name="Text Placeholder 4"/>
          <p:cNvSpPr>
            <a:spLocks noGrp="1"/>
          </p:cNvSpPr>
          <p:nvPr>
            <p:ph type="body" sz="quarter" idx="13"/>
          </p:nvPr>
        </p:nvSpPr>
        <p:spPr>
          <a:xfrm>
            <a:off x="2826556" y="3438540"/>
            <a:ext cx="8346961" cy="722177"/>
          </a:xfrm>
        </p:spPr>
        <p:txBody>
          <a:bodyPr lIns="121920" tIns="60960" rIns="121920" bIns="60960" anchor="t"/>
          <a:lstStyle/>
          <a:p>
            <a:r>
              <a:rPr lang="en-US" sz="2667">
                <a:latin typeface="Verdana"/>
                <a:ea typeface="Verdana"/>
              </a:rPr>
              <a:t>A part of ILPQC's Birth Equity Initiative</a:t>
            </a:r>
            <a:endParaRPr lang="en-US" sz="2667" err="1"/>
          </a:p>
        </p:txBody>
      </p:sp>
    </p:spTree>
    <p:extLst>
      <p:ext uri="{BB962C8B-B14F-4D97-AF65-F5344CB8AC3E}">
        <p14:creationId xmlns:p14="http://schemas.microsoft.com/office/powerpoint/2010/main" val="95642803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2335" y="256085"/>
            <a:ext cx="4369301" cy="1497215"/>
          </a:xfrm>
        </p:spPr>
        <p:txBody>
          <a:bodyPr lIns="121920" tIns="60960" rIns="121920" bIns="60960" anchor="b"/>
          <a:lstStyle/>
          <a:p>
            <a:r>
              <a:rPr lang="en-US">
                <a:latin typeface="Verdana"/>
                <a:ea typeface="Verdana"/>
              </a:rPr>
              <a:t>About AIMMC</a:t>
            </a:r>
            <a:endParaRPr lang="en-US"/>
          </a:p>
        </p:txBody>
      </p:sp>
      <p:pic>
        <p:nvPicPr>
          <p:cNvPr id="5" name="Picture 5" descr="A picture containing building, outdoor, tree, city&#10;&#10;Description automatically generated">
            <a:extLst>
              <a:ext uri="{FF2B5EF4-FFF2-40B4-BE49-F238E27FC236}">
                <a16:creationId xmlns:a16="http://schemas.microsoft.com/office/drawing/2014/main" id="{D3CD1E87-5794-169F-204D-9A9B69C0FC4E}"/>
              </a:ext>
            </a:extLst>
          </p:cNvPr>
          <p:cNvPicPr>
            <a:picLocks noGrp="1" noChangeAspect="1"/>
          </p:cNvPicPr>
          <p:nvPr>
            <p:ph type="pic" idx="1"/>
          </p:nvPr>
        </p:nvPicPr>
        <p:blipFill rotWithShape="1">
          <a:blip r:embed="rId2"/>
          <a:srcRect l="19052" r="19052"/>
          <a:stretch/>
        </p:blipFill>
        <p:spPr>
          <a:xfrm>
            <a:off x="6204170" y="1227863"/>
            <a:ext cx="5675213" cy="3895284"/>
          </a:xfrm>
        </p:spPr>
      </p:pic>
      <p:sp>
        <p:nvSpPr>
          <p:cNvPr id="4" name="Text Placeholder 3"/>
          <p:cNvSpPr>
            <a:spLocks noGrp="1"/>
          </p:cNvSpPr>
          <p:nvPr>
            <p:ph type="body" sz="half" idx="2"/>
          </p:nvPr>
        </p:nvSpPr>
        <p:spPr>
          <a:xfrm>
            <a:off x="866029" y="1949138"/>
            <a:ext cx="4369303" cy="3437697"/>
          </a:xfrm>
        </p:spPr>
        <p:txBody>
          <a:bodyPr lIns="121920" tIns="60960" rIns="121920" bIns="60960" anchor="t"/>
          <a:lstStyle/>
          <a:p>
            <a:pPr marL="380990" indent="-380990">
              <a:buChar char="•"/>
            </a:pPr>
            <a:r>
              <a:rPr lang="en-US">
                <a:latin typeface="Verdana"/>
                <a:ea typeface="Verdana"/>
              </a:rPr>
              <a:t>Lakeview neighborhood of Chicago</a:t>
            </a:r>
          </a:p>
          <a:p>
            <a:pPr marL="380990" indent="-380990">
              <a:buChar char="•"/>
            </a:pPr>
            <a:r>
              <a:rPr lang="en-US">
                <a:latin typeface="Verdana"/>
                <a:ea typeface="Verdana"/>
              </a:rPr>
              <a:t>408 bed teaching hospital</a:t>
            </a:r>
            <a:endParaRPr lang="en-US"/>
          </a:p>
          <a:p>
            <a:pPr marL="380990" indent="-380990">
              <a:buChar char="•"/>
            </a:pPr>
            <a:r>
              <a:rPr lang="en-US">
                <a:latin typeface="Verdana"/>
                <a:ea typeface="Verdana"/>
              </a:rPr>
              <a:t>8 labor beds, and 25 postpartum beds</a:t>
            </a:r>
          </a:p>
          <a:p>
            <a:pPr marL="380990" indent="-380990">
              <a:buChar char="•"/>
            </a:pPr>
            <a:r>
              <a:rPr lang="en-US">
                <a:latin typeface="Verdana"/>
                <a:ea typeface="Verdana"/>
              </a:rPr>
              <a:t>Level III Perinatal Center</a:t>
            </a:r>
            <a:endParaRPr lang="en-US"/>
          </a:p>
          <a:p>
            <a:pPr marL="380990" indent="-380990">
              <a:buChar char="•"/>
            </a:pPr>
            <a:r>
              <a:rPr lang="en-US">
                <a:latin typeface="Verdana"/>
                <a:ea typeface="Verdana"/>
              </a:rPr>
              <a:t>Level III NICU</a:t>
            </a:r>
            <a:endParaRPr lang="en-US"/>
          </a:p>
          <a:p>
            <a:pPr marL="380990" indent="-380990">
              <a:buChar char="•"/>
            </a:pPr>
            <a:r>
              <a:rPr lang="en-US">
                <a:latin typeface="Verdana"/>
                <a:ea typeface="Verdana"/>
              </a:rPr>
              <a:t>About 1600 deliveries per year (4 year mean)</a:t>
            </a:r>
            <a:endParaRPr lang="en-US"/>
          </a:p>
          <a:p>
            <a:pPr marL="380990" indent="-380990">
              <a:buChar char="•"/>
            </a:pPr>
            <a:endParaRPr lang="en-US"/>
          </a:p>
        </p:txBody>
      </p:sp>
    </p:spTree>
    <p:extLst>
      <p:ext uri="{BB962C8B-B14F-4D97-AF65-F5344CB8AC3E}">
        <p14:creationId xmlns:p14="http://schemas.microsoft.com/office/powerpoint/2010/main" val="19282772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8DE55-3526-B0DA-3FAF-1F8036F580BC}"/>
              </a:ext>
            </a:extLst>
          </p:cNvPr>
          <p:cNvSpPr>
            <a:spLocks noGrp="1"/>
          </p:cNvSpPr>
          <p:nvPr>
            <p:ph type="title"/>
          </p:nvPr>
        </p:nvSpPr>
        <p:spPr>
          <a:xfrm>
            <a:off x="848990" y="458991"/>
            <a:ext cx="10177757" cy="757130"/>
          </a:xfrm>
        </p:spPr>
        <p:txBody>
          <a:bodyPr/>
          <a:lstStyle/>
          <a:p>
            <a:r>
              <a:rPr lang="en-US"/>
              <a:t>Key stakeholders</a:t>
            </a:r>
          </a:p>
        </p:txBody>
      </p:sp>
      <p:sp>
        <p:nvSpPr>
          <p:cNvPr id="3" name="Text Placeholder 2">
            <a:extLst>
              <a:ext uri="{FF2B5EF4-FFF2-40B4-BE49-F238E27FC236}">
                <a16:creationId xmlns:a16="http://schemas.microsoft.com/office/drawing/2014/main" id="{FC664CB8-18C8-C0AD-1531-F646AAF47FDC}"/>
              </a:ext>
            </a:extLst>
          </p:cNvPr>
          <p:cNvSpPr>
            <a:spLocks noGrp="1"/>
          </p:cNvSpPr>
          <p:nvPr>
            <p:ph type="body" sz="quarter" idx="10"/>
          </p:nvPr>
        </p:nvSpPr>
        <p:spPr>
          <a:xfrm>
            <a:off x="848784" y="1304902"/>
            <a:ext cx="10176933" cy="3812116"/>
          </a:xfrm>
        </p:spPr>
        <p:txBody>
          <a:bodyPr lIns="121920" tIns="60960" rIns="121920" bIns="60960" anchor="t"/>
          <a:lstStyle/>
          <a:p>
            <a:r>
              <a:rPr lang="en-US" sz="1600">
                <a:latin typeface="Verdana"/>
                <a:ea typeface="Verdana"/>
              </a:rPr>
              <a:t>Jessica Burdi- Director of Women’s and Children’s</a:t>
            </a:r>
          </a:p>
          <a:p>
            <a:r>
              <a:rPr lang="en-US" sz="1600">
                <a:latin typeface="Verdana"/>
                <a:ea typeface="Verdana"/>
              </a:rPr>
              <a:t>Thomas Iannucci – Dept. Of Obstetrics and Gynecology Chair</a:t>
            </a:r>
          </a:p>
          <a:p>
            <a:r>
              <a:rPr lang="en-US" sz="1600">
                <a:latin typeface="Verdana"/>
                <a:ea typeface="Verdana"/>
              </a:rPr>
              <a:t>David Trotter – Emergency Medicine Chair</a:t>
            </a:r>
          </a:p>
          <a:p>
            <a:r>
              <a:rPr lang="en-US" sz="1600">
                <a:latin typeface="Verdana"/>
                <a:ea typeface="Verdana"/>
              </a:rPr>
              <a:t>Erwin </a:t>
            </a:r>
            <a:r>
              <a:rPr lang="en-US" sz="1600" err="1">
                <a:latin typeface="Verdana"/>
                <a:ea typeface="Verdana"/>
              </a:rPr>
              <a:t>Gumila</a:t>
            </a:r>
            <a:r>
              <a:rPr lang="en-US" sz="1600">
                <a:latin typeface="Verdana"/>
                <a:ea typeface="Verdana"/>
              </a:rPr>
              <a:t> – Manager of L&amp;D, NICU, PSU and Postpartum</a:t>
            </a:r>
          </a:p>
          <a:p>
            <a:r>
              <a:rPr lang="en-US" sz="1600">
                <a:latin typeface="Verdana"/>
                <a:ea typeface="Verdana"/>
              </a:rPr>
              <a:t>Mary Silva- Perinatal Data Nurse</a:t>
            </a:r>
          </a:p>
          <a:p>
            <a:r>
              <a:rPr lang="en-US" sz="1600">
                <a:latin typeface="Verdana"/>
                <a:ea typeface="Verdana"/>
              </a:rPr>
              <a:t>Donna Rice – Manager of the Antenatal Resource Center</a:t>
            </a:r>
          </a:p>
          <a:p>
            <a:r>
              <a:rPr lang="en-US" sz="1600">
                <a:latin typeface="Verdana"/>
                <a:ea typeface="Verdana"/>
              </a:rPr>
              <a:t>Susana Sanchez Tong – Social Worker</a:t>
            </a:r>
          </a:p>
          <a:p>
            <a:r>
              <a:rPr lang="en-US" sz="1600">
                <a:latin typeface="Verdana"/>
                <a:ea typeface="Verdana"/>
              </a:rPr>
              <a:t>Manuel Valdez – Social Worker</a:t>
            </a:r>
          </a:p>
          <a:p>
            <a:r>
              <a:rPr lang="en-US" sz="1600">
                <a:latin typeface="Verdana"/>
                <a:ea typeface="Verdana"/>
              </a:rPr>
              <a:t>Toussaint Ward – Manager of Patient Access</a:t>
            </a:r>
          </a:p>
          <a:p>
            <a:r>
              <a:rPr lang="en-US" sz="1600">
                <a:latin typeface="Verdana"/>
                <a:ea typeface="Verdana"/>
              </a:rPr>
              <a:t>Peggy Hamilton – Assistant Clinical Manager of L&amp;D</a:t>
            </a:r>
          </a:p>
          <a:p>
            <a:r>
              <a:rPr lang="en-US" sz="1600">
                <a:latin typeface="Verdana"/>
                <a:ea typeface="Verdana"/>
              </a:rPr>
              <a:t>Tricia Green – Clinical Nurse Specialist for OB</a:t>
            </a:r>
          </a:p>
          <a:p>
            <a:r>
              <a:rPr lang="en-US" sz="1600">
                <a:latin typeface="Verdana"/>
                <a:ea typeface="Verdana"/>
              </a:rPr>
              <a:t>Laura Prisby - Assistant Clinical Manager of PSU and Postpartum</a:t>
            </a:r>
            <a:endParaRPr lang="en-US" sz="1600"/>
          </a:p>
        </p:txBody>
      </p:sp>
    </p:spTree>
    <p:extLst>
      <p:ext uri="{BB962C8B-B14F-4D97-AF65-F5344CB8AC3E}">
        <p14:creationId xmlns:p14="http://schemas.microsoft.com/office/powerpoint/2010/main" val="20941399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7235B6-0B1C-58BC-1BF7-C7631AD2052E}"/>
              </a:ext>
            </a:extLst>
          </p:cNvPr>
          <p:cNvSpPr>
            <a:spLocks noGrp="1"/>
          </p:cNvSpPr>
          <p:nvPr>
            <p:ph type="title"/>
          </p:nvPr>
        </p:nvSpPr>
        <p:spPr>
          <a:xfrm>
            <a:off x="848990" y="231011"/>
            <a:ext cx="10177757" cy="787908"/>
          </a:xfrm>
        </p:spPr>
        <p:txBody>
          <a:bodyPr wrap="square" lIns="121920" tIns="60960" rIns="121920" bIns="60960" anchor="b" anchorCtr="0">
            <a:spAutoFit/>
          </a:bodyPr>
          <a:lstStyle/>
          <a:p>
            <a:r>
              <a:rPr lang="en-US">
                <a:latin typeface="Verdana"/>
                <a:ea typeface="Verdana"/>
              </a:rPr>
              <a:t>Birth Equity Strategies  </a:t>
            </a:r>
            <a:endParaRPr lang="en-US"/>
          </a:p>
        </p:txBody>
      </p:sp>
      <p:sp>
        <p:nvSpPr>
          <p:cNvPr id="3" name="Text Placeholder 2">
            <a:extLst>
              <a:ext uri="{FF2B5EF4-FFF2-40B4-BE49-F238E27FC236}">
                <a16:creationId xmlns:a16="http://schemas.microsoft.com/office/drawing/2014/main" id="{2B73434D-7F0B-8257-47EE-23BF4AE6FCD7}"/>
              </a:ext>
            </a:extLst>
          </p:cNvPr>
          <p:cNvSpPr>
            <a:spLocks noGrp="1"/>
          </p:cNvSpPr>
          <p:nvPr>
            <p:ph type="body" sz="quarter" idx="10"/>
          </p:nvPr>
        </p:nvSpPr>
        <p:spPr>
          <a:xfrm>
            <a:off x="1591245" y="1615018"/>
            <a:ext cx="9434472" cy="3812116"/>
          </a:xfrm>
        </p:spPr>
        <p:txBody>
          <a:bodyPr lIns="121920" tIns="60960" rIns="121920" bIns="60960" anchor="t"/>
          <a:lstStyle/>
          <a:p>
            <a:pPr marL="0" indent="0">
              <a:buNone/>
            </a:pPr>
            <a:endParaRPr lang="en-US"/>
          </a:p>
        </p:txBody>
      </p:sp>
      <p:pic>
        <p:nvPicPr>
          <p:cNvPr id="4" name="Picture 4" descr="Text&#10;&#10;Description automatically generated">
            <a:extLst>
              <a:ext uri="{FF2B5EF4-FFF2-40B4-BE49-F238E27FC236}">
                <a16:creationId xmlns:a16="http://schemas.microsoft.com/office/drawing/2014/main" id="{113C72FB-B42B-7696-523F-A012D4C0FB86}"/>
              </a:ext>
            </a:extLst>
          </p:cNvPr>
          <p:cNvPicPr>
            <a:picLocks noChangeAspect="1"/>
          </p:cNvPicPr>
          <p:nvPr/>
        </p:nvPicPr>
        <p:blipFill>
          <a:blip r:embed="rId2"/>
          <a:stretch>
            <a:fillRect/>
          </a:stretch>
        </p:blipFill>
        <p:spPr>
          <a:xfrm>
            <a:off x="1228968" y="1015857"/>
            <a:ext cx="9274907" cy="5197515"/>
          </a:xfrm>
          <a:prstGeom prst="rect">
            <a:avLst/>
          </a:prstGeom>
        </p:spPr>
      </p:pic>
    </p:spTree>
    <p:extLst>
      <p:ext uri="{BB962C8B-B14F-4D97-AF65-F5344CB8AC3E}">
        <p14:creationId xmlns:p14="http://schemas.microsoft.com/office/powerpoint/2010/main" val="38787022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F31E3-4976-DB5B-D69E-5FB4F8A8CBFE}"/>
              </a:ext>
            </a:extLst>
          </p:cNvPr>
          <p:cNvSpPr>
            <a:spLocks noGrp="1"/>
          </p:cNvSpPr>
          <p:nvPr>
            <p:ph type="title"/>
          </p:nvPr>
        </p:nvSpPr>
        <p:spPr>
          <a:xfrm>
            <a:off x="848990" y="162137"/>
            <a:ext cx="10177757" cy="1452705"/>
          </a:xfrm>
        </p:spPr>
        <p:txBody>
          <a:bodyPr wrap="square" lIns="121920" tIns="60960" rIns="121920" bIns="60960" anchor="b" anchorCtr="0">
            <a:spAutoFit/>
          </a:bodyPr>
          <a:lstStyle/>
          <a:p>
            <a:r>
              <a:rPr lang="en-US">
                <a:latin typeface="Verdana"/>
                <a:ea typeface="Verdana"/>
              </a:rPr>
              <a:t>Implementation of the PREM Survey</a:t>
            </a:r>
            <a:endParaRPr lang="en-US"/>
          </a:p>
        </p:txBody>
      </p:sp>
      <p:sp>
        <p:nvSpPr>
          <p:cNvPr id="3" name="Text Placeholder 2">
            <a:extLst>
              <a:ext uri="{FF2B5EF4-FFF2-40B4-BE49-F238E27FC236}">
                <a16:creationId xmlns:a16="http://schemas.microsoft.com/office/drawing/2014/main" id="{5F6749E5-88E5-D20A-073A-CD4BDDFE85FC}"/>
              </a:ext>
            </a:extLst>
          </p:cNvPr>
          <p:cNvSpPr>
            <a:spLocks noGrp="1"/>
          </p:cNvSpPr>
          <p:nvPr>
            <p:ph type="body" sz="quarter" idx="10"/>
          </p:nvPr>
        </p:nvSpPr>
        <p:spPr>
          <a:xfrm>
            <a:off x="790168" y="1654094"/>
            <a:ext cx="10176933" cy="3812116"/>
          </a:xfrm>
        </p:spPr>
        <p:txBody>
          <a:bodyPr lIns="121920" tIns="60960" rIns="121920" bIns="60960" anchor="t"/>
          <a:lstStyle/>
          <a:p>
            <a:r>
              <a:rPr lang="en-US">
                <a:latin typeface="Verdana"/>
                <a:ea typeface="Verdana"/>
              </a:rPr>
              <a:t>Discuss workflow with charge nurses</a:t>
            </a:r>
            <a:endParaRPr lang="en-US"/>
          </a:p>
          <a:p>
            <a:pPr lvl="2"/>
            <a:r>
              <a:rPr lang="en-US">
                <a:latin typeface="Verdana"/>
                <a:ea typeface="Verdana"/>
              </a:rPr>
              <a:t>Introduce topic during daily leadership rounding</a:t>
            </a:r>
          </a:p>
          <a:p>
            <a:pPr lvl="2"/>
            <a:r>
              <a:rPr lang="en-US">
                <a:latin typeface="Verdana"/>
                <a:ea typeface="Verdana"/>
              </a:rPr>
              <a:t>Hand out survey at discharge</a:t>
            </a:r>
            <a:endParaRPr lang="en-US"/>
          </a:p>
          <a:p>
            <a:pPr>
              <a:buFont typeface="Arial"/>
              <a:buChar char="•"/>
            </a:pPr>
            <a:endParaRPr lang="en-US"/>
          </a:p>
          <a:p>
            <a:r>
              <a:rPr lang="en-US">
                <a:latin typeface="Verdana"/>
                <a:ea typeface="Verdana"/>
              </a:rPr>
              <a:t>Work with IT to get iPad configured</a:t>
            </a:r>
          </a:p>
          <a:p>
            <a:pPr marL="0" indent="0">
              <a:buNone/>
            </a:pPr>
            <a:endParaRPr lang="en-US">
              <a:latin typeface="Verdana"/>
              <a:ea typeface="Verdana"/>
            </a:endParaRPr>
          </a:p>
          <a:p>
            <a:r>
              <a:rPr lang="en-US">
                <a:latin typeface="Verdana"/>
                <a:ea typeface="Verdana"/>
              </a:rPr>
              <a:t>Invite a Unit Council Member to ILPQC Conference in Oct. 2022</a:t>
            </a:r>
          </a:p>
        </p:txBody>
      </p:sp>
    </p:spTree>
    <p:extLst>
      <p:ext uri="{BB962C8B-B14F-4D97-AF65-F5344CB8AC3E}">
        <p14:creationId xmlns:p14="http://schemas.microsoft.com/office/powerpoint/2010/main" val="8119408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99F7A-DFB3-982C-88DF-E5DEA9784AC0}"/>
              </a:ext>
            </a:extLst>
          </p:cNvPr>
          <p:cNvSpPr>
            <a:spLocks noGrp="1"/>
          </p:cNvSpPr>
          <p:nvPr>
            <p:ph type="title"/>
          </p:nvPr>
        </p:nvSpPr>
        <p:spPr>
          <a:xfrm>
            <a:off x="609600" y="5239049"/>
            <a:ext cx="7392838" cy="1325563"/>
          </a:xfrm>
        </p:spPr>
        <p:txBody>
          <a:bodyPr/>
          <a:lstStyle/>
          <a:p>
            <a:r>
              <a:rPr lang="en-US" dirty="0">
                <a:ea typeface="Lato Medium"/>
                <a:cs typeface="Lato Medium"/>
              </a:rPr>
              <a:t>ILPQC F2F Agenda: </a:t>
            </a:r>
            <a:br>
              <a:rPr lang="en-US" dirty="0">
                <a:ea typeface="Lato Medium"/>
                <a:cs typeface="Lato Medium"/>
              </a:rPr>
            </a:br>
            <a:r>
              <a:rPr lang="en-US" dirty="0">
                <a:ea typeface="Lato Medium"/>
                <a:cs typeface="Lato Medium"/>
              </a:rPr>
              <a:t>Wednesday, May 24th</a:t>
            </a:r>
            <a:endParaRPr lang="en-US" dirty="0"/>
          </a:p>
        </p:txBody>
      </p:sp>
      <p:sp>
        <p:nvSpPr>
          <p:cNvPr id="4" name="Slide Number Placeholder 3">
            <a:extLst>
              <a:ext uri="{FF2B5EF4-FFF2-40B4-BE49-F238E27FC236}">
                <a16:creationId xmlns:a16="http://schemas.microsoft.com/office/drawing/2014/main" id="{7D5D60D9-1153-A700-5802-2D8C26E7E09D}"/>
              </a:ext>
            </a:extLst>
          </p:cNvPr>
          <p:cNvSpPr>
            <a:spLocks noGrp="1"/>
          </p:cNvSpPr>
          <p:nvPr>
            <p:ph type="sldNum" sz="quarter" idx="10"/>
          </p:nvPr>
        </p:nvSpPr>
        <p:spPr/>
        <p:txBody>
          <a:bodyPr/>
          <a:lstStyle/>
          <a:p>
            <a:fld id="{97033E4B-E3EB-3D46-B2D8-3159663620FA}" type="slidenum">
              <a:rPr lang="en-US" smtClean="0"/>
              <a:pPr/>
              <a:t>8</a:t>
            </a:fld>
            <a:endParaRPr lang="en-US"/>
          </a:p>
        </p:txBody>
      </p:sp>
      <p:graphicFrame>
        <p:nvGraphicFramePr>
          <p:cNvPr id="15" name="Content Placeholder 14">
            <a:extLst>
              <a:ext uri="{FF2B5EF4-FFF2-40B4-BE49-F238E27FC236}">
                <a16:creationId xmlns:a16="http://schemas.microsoft.com/office/drawing/2014/main" id="{DC353392-F952-3BF9-D767-B01AFFD9D458}"/>
              </a:ext>
            </a:extLst>
          </p:cNvPr>
          <p:cNvGraphicFramePr>
            <a:graphicFrameLocks noGrp="1"/>
          </p:cNvGraphicFramePr>
          <p:nvPr>
            <p:ph idx="1"/>
            <p:extLst>
              <p:ext uri="{D42A27DB-BD31-4B8C-83A1-F6EECF244321}">
                <p14:modId xmlns:p14="http://schemas.microsoft.com/office/powerpoint/2010/main" val="655790239"/>
              </p:ext>
            </p:extLst>
          </p:nvPr>
        </p:nvGraphicFramePr>
        <p:xfrm>
          <a:off x="14377" y="0"/>
          <a:ext cx="7629440" cy="5146375"/>
        </p:xfrm>
        <a:graphic>
          <a:graphicData uri="http://schemas.openxmlformats.org/drawingml/2006/table">
            <a:tbl>
              <a:tblPr firstRow="1" bandRow="1">
                <a:tableStyleId>{5C22544A-7EE6-4342-B048-85BDC9FD1C3A}</a:tableStyleId>
              </a:tblPr>
              <a:tblGrid>
                <a:gridCol w="902519">
                  <a:extLst>
                    <a:ext uri="{9D8B030D-6E8A-4147-A177-3AD203B41FA5}">
                      <a16:colId xmlns:a16="http://schemas.microsoft.com/office/drawing/2014/main" val="683782182"/>
                    </a:ext>
                  </a:extLst>
                </a:gridCol>
                <a:gridCol w="6726921">
                  <a:extLst>
                    <a:ext uri="{9D8B030D-6E8A-4147-A177-3AD203B41FA5}">
                      <a16:colId xmlns:a16="http://schemas.microsoft.com/office/drawing/2014/main" val="4129381965"/>
                    </a:ext>
                  </a:extLst>
                </a:gridCol>
              </a:tblGrid>
              <a:tr h="545375">
                <a:tc>
                  <a:txBody>
                    <a:bodyPr/>
                    <a:lstStyle/>
                    <a:p>
                      <a:pPr fontAlgn="t"/>
                      <a:endParaRPr lang="en-US">
                        <a:effectLst/>
                      </a:endParaRPr>
                    </a:p>
                    <a:p>
                      <a:pPr algn="l" rtl="0" fontAlgn="base"/>
                      <a:r>
                        <a:rPr lang="en-US" sz="1100" dirty="0">
                          <a:effectLst/>
                        </a:rPr>
                        <a:t>Time </a:t>
                      </a:r>
                      <a:endParaRPr lang="en-US" b="1" i="0" dirty="0">
                        <a:solidFill>
                          <a:srgbClr val="365F91"/>
                        </a:solidFill>
                        <a:effectLst/>
                      </a:endParaRPr>
                    </a:p>
                  </a:txBody>
                  <a:tcPr/>
                </a:tc>
                <a:tc>
                  <a:txBody>
                    <a:bodyPr/>
                    <a:lstStyle/>
                    <a:p>
                      <a:pPr algn="ctr" fontAlgn="t"/>
                      <a:endParaRPr lang="en-US">
                        <a:effectLst/>
                      </a:endParaRPr>
                    </a:p>
                    <a:p>
                      <a:pPr algn="l" rtl="0" fontAlgn="base"/>
                      <a:r>
                        <a:rPr lang="en-US" sz="1100" dirty="0">
                          <a:effectLst/>
                        </a:rPr>
                        <a:t>ILPQC 2023 OB Face-to-Face Meeting </a:t>
                      </a:r>
                      <a:endParaRPr lang="en-US" b="0" i="0" dirty="0">
                        <a:solidFill>
                          <a:srgbClr val="365F91"/>
                        </a:solidFill>
                        <a:effectLst/>
                      </a:endParaRPr>
                    </a:p>
                  </a:txBody>
                  <a:tcPr/>
                </a:tc>
                <a:extLst>
                  <a:ext uri="{0D108BD9-81ED-4DB2-BD59-A6C34878D82A}">
                    <a16:rowId xmlns:a16="http://schemas.microsoft.com/office/drawing/2014/main" val="4119589559"/>
                  </a:ext>
                </a:extLst>
              </a:tr>
              <a:tr h="694115">
                <a:tc>
                  <a:txBody>
                    <a:bodyPr/>
                    <a:lstStyle/>
                    <a:p>
                      <a:pPr algn="l" rtl="0" fontAlgn="base"/>
                      <a:r>
                        <a:rPr lang="en-US" sz="1250" b="1" dirty="0">
                          <a:solidFill>
                            <a:schemeClr val="accent1"/>
                          </a:solidFill>
                          <a:effectLst/>
                        </a:rPr>
                        <a:t>9:00-9:10am </a:t>
                      </a:r>
                      <a:endParaRPr lang="en-US" dirty="0"/>
                    </a:p>
                    <a:p>
                      <a:pPr algn="l" rtl="0" fontAlgn="base"/>
                      <a:endParaRPr lang="en-US" sz="1250" b="1" i="0" dirty="0">
                        <a:solidFill>
                          <a:schemeClr val="accent1"/>
                        </a:solidFill>
                        <a:effectLst/>
                      </a:endParaRPr>
                    </a:p>
                  </a:txBody>
                  <a:tcPr/>
                </a:tc>
                <a:tc>
                  <a:txBody>
                    <a:bodyPr/>
                    <a:lstStyle/>
                    <a:p>
                      <a:pPr algn="l" rtl="0" fontAlgn="base"/>
                      <a:r>
                        <a:rPr lang="en-US" sz="1250" b="1" dirty="0">
                          <a:solidFill>
                            <a:schemeClr val="accent1"/>
                          </a:solidFill>
                          <a:effectLst/>
                        </a:rPr>
                        <a:t>Welcome and Overview of Day  </a:t>
                      </a:r>
                      <a:endParaRPr lang="en-US" dirty="0"/>
                    </a:p>
                    <a:p>
                      <a:pPr algn="l" rtl="0" fontAlgn="base"/>
                      <a:r>
                        <a:rPr lang="en-US" sz="1250" b="1" dirty="0">
                          <a:solidFill>
                            <a:schemeClr val="accent1"/>
                          </a:solidFill>
                          <a:effectLst/>
                        </a:rPr>
                        <a:t>VIP Welcome: Lisa Masinter, Deputy Director Office of Women’s Health and Family Services </a:t>
                      </a:r>
                    </a:p>
                    <a:p>
                      <a:pPr algn="l" rtl="0" fontAlgn="base"/>
                      <a:r>
                        <a:rPr lang="en-US" sz="1250" b="1" dirty="0">
                          <a:solidFill>
                            <a:schemeClr val="accent3"/>
                          </a:solidFill>
                          <a:effectLst/>
                        </a:rPr>
                        <a:t>Ann Borders, MD, MSc, MPH </a:t>
                      </a:r>
                      <a:endParaRPr lang="en-US" sz="1250" b="1" i="0">
                        <a:solidFill>
                          <a:schemeClr val="accent3"/>
                        </a:solidFill>
                        <a:effectLst/>
                      </a:endParaRPr>
                    </a:p>
                  </a:txBody>
                  <a:tcPr/>
                </a:tc>
                <a:extLst>
                  <a:ext uri="{0D108BD9-81ED-4DB2-BD59-A6C34878D82A}">
                    <a16:rowId xmlns:a16="http://schemas.microsoft.com/office/drawing/2014/main" val="2809843415"/>
                  </a:ext>
                </a:extLst>
              </a:tr>
              <a:tr h="462743">
                <a:tc>
                  <a:txBody>
                    <a:bodyPr/>
                    <a:lstStyle/>
                    <a:p>
                      <a:pPr lvl="0" algn="l">
                        <a:buNone/>
                      </a:pPr>
                      <a:r>
                        <a:rPr lang="en-US" sz="1250" b="1" dirty="0">
                          <a:solidFill>
                            <a:schemeClr val="accent1"/>
                          </a:solidFill>
                          <a:effectLst/>
                        </a:rPr>
                        <a:t>9:10-9:40am </a:t>
                      </a:r>
                      <a:endParaRPr lang="en-US" sz="1250" b="1" i="0" dirty="0">
                        <a:solidFill>
                          <a:schemeClr val="accent1"/>
                        </a:solidFill>
                        <a:effectLst/>
                      </a:endParaRPr>
                    </a:p>
                  </a:txBody>
                  <a:tcPr/>
                </a:tc>
                <a:tc>
                  <a:txBody>
                    <a:bodyPr/>
                    <a:lstStyle/>
                    <a:p>
                      <a:pPr lvl="0" algn="l">
                        <a:buNone/>
                      </a:pPr>
                      <a:r>
                        <a:rPr lang="en-US" sz="1250" b="1" dirty="0">
                          <a:solidFill>
                            <a:schemeClr val="accent1"/>
                          </a:solidFill>
                          <a:effectLst/>
                        </a:rPr>
                        <a:t>Working Together in 2023 </a:t>
                      </a:r>
                      <a:endParaRPr lang="en-US" dirty="0"/>
                    </a:p>
                    <a:p>
                      <a:pPr algn="l" rtl="0" fontAlgn="base"/>
                      <a:r>
                        <a:rPr lang="en-US" sz="1250" b="1" dirty="0">
                          <a:solidFill>
                            <a:schemeClr val="accent3"/>
                          </a:solidFill>
                          <a:effectLst/>
                        </a:rPr>
                        <a:t>Ann Borders, MD, MSc, MPH </a:t>
                      </a:r>
                    </a:p>
                  </a:txBody>
                  <a:tcPr/>
                </a:tc>
                <a:extLst>
                  <a:ext uri="{0D108BD9-81ED-4DB2-BD59-A6C34878D82A}">
                    <a16:rowId xmlns:a16="http://schemas.microsoft.com/office/drawing/2014/main" val="2925562079"/>
                  </a:ext>
                </a:extLst>
              </a:tr>
              <a:tr h="628009">
                <a:tc>
                  <a:txBody>
                    <a:bodyPr/>
                    <a:lstStyle/>
                    <a:p>
                      <a:pPr algn="l" rtl="0" fontAlgn="base"/>
                      <a:r>
                        <a:rPr lang="en-US" sz="1250" b="1" dirty="0">
                          <a:solidFill>
                            <a:schemeClr val="accent1"/>
                          </a:solidFill>
                          <a:effectLst/>
                        </a:rPr>
                        <a:t>9:40-10:25am </a:t>
                      </a:r>
                      <a:endParaRPr lang="en-US" sz="1250" b="1" i="0" dirty="0">
                        <a:solidFill>
                          <a:schemeClr val="accent1"/>
                        </a:solidFill>
                        <a:effectLst/>
                      </a:endParaRPr>
                    </a:p>
                  </a:txBody>
                  <a:tcPr/>
                </a:tc>
                <a:tc>
                  <a:txBody>
                    <a:bodyPr/>
                    <a:lstStyle/>
                    <a:p>
                      <a:pPr algn="l" rtl="0" fontAlgn="base"/>
                      <a:r>
                        <a:rPr lang="en-US" sz="1250" b="1" dirty="0">
                          <a:solidFill>
                            <a:schemeClr val="accent1"/>
                          </a:solidFill>
                          <a:effectLst/>
                        </a:rPr>
                        <a:t>Louisiana Perinatal Quality Collaborative (LaPQC): Achieving Safe, Equitable, and Dignified Births</a:t>
                      </a:r>
                      <a:r>
                        <a:rPr lang="en-US" sz="1250" dirty="0">
                          <a:effectLst/>
                        </a:rPr>
                        <a:t> </a:t>
                      </a:r>
                      <a:endParaRPr lang="en-US" dirty="0"/>
                    </a:p>
                    <a:p>
                      <a:pPr algn="l" rtl="0" fontAlgn="base"/>
                      <a:r>
                        <a:rPr lang="en-US" sz="1250" b="1" dirty="0">
                          <a:solidFill>
                            <a:schemeClr val="accent3"/>
                          </a:solidFill>
                          <a:effectLst/>
                        </a:rPr>
                        <a:t>Dr. Veronica Gillispie-Bell, MD, MAS </a:t>
                      </a:r>
                      <a:r>
                        <a:rPr lang="en-US" sz="1250" b="1" dirty="0">
                          <a:effectLst/>
                        </a:rPr>
                        <a:t> </a:t>
                      </a:r>
                    </a:p>
                    <a:p>
                      <a:pPr lvl="0" algn="l">
                        <a:buNone/>
                      </a:pPr>
                      <a:endParaRPr lang="en-US" sz="1250" b="1" dirty="0">
                        <a:effectLst/>
                      </a:endParaRPr>
                    </a:p>
                  </a:txBody>
                  <a:tcPr/>
                </a:tc>
                <a:extLst>
                  <a:ext uri="{0D108BD9-81ED-4DB2-BD59-A6C34878D82A}">
                    <a16:rowId xmlns:a16="http://schemas.microsoft.com/office/drawing/2014/main" val="343747297"/>
                  </a:ext>
                </a:extLst>
              </a:tr>
              <a:tr h="446217">
                <a:tc>
                  <a:txBody>
                    <a:bodyPr/>
                    <a:lstStyle/>
                    <a:p>
                      <a:pPr algn="l" rtl="0" fontAlgn="base"/>
                      <a:r>
                        <a:rPr lang="en-US" sz="1250" b="1" dirty="0">
                          <a:solidFill>
                            <a:schemeClr val="accent1"/>
                          </a:solidFill>
                          <a:effectLst/>
                        </a:rPr>
                        <a:t>10:25-10:35am </a:t>
                      </a:r>
                      <a:endParaRPr lang="en-US" sz="1250" b="1" i="0" dirty="0">
                        <a:solidFill>
                          <a:schemeClr val="accent1"/>
                        </a:solidFill>
                        <a:effectLst/>
                      </a:endParaRPr>
                    </a:p>
                  </a:txBody>
                  <a:tcPr/>
                </a:tc>
                <a:tc>
                  <a:txBody>
                    <a:bodyPr/>
                    <a:lstStyle/>
                    <a:p>
                      <a:pPr algn="l" rtl="0" fontAlgn="base"/>
                      <a:r>
                        <a:rPr lang="en-US" sz="1250" b="1" dirty="0">
                          <a:solidFill>
                            <a:schemeClr val="accent1"/>
                          </a:solidFill>
                          <a:effectLst/>
                        </a:rPr>
                        <a:t>Break </a:t>
                      </a:r>
                      <a:endParaRPr lang="en-US" sz="1250" b="1" i="0" dirty="0">
                        <a:solidFill>
                          <a:schemeClr val="accent1"/>
                        </a:solidFill>
                        <a:effectLst/>
                      </a:endParaRPr>
                    </a:p>
                  </a:txBody>
                  <a:tcPr/>
                </a:tc>
                <a:extLst>
                  <a:ext uri="{0D108BD9-81ED-4DB2-BD59-A6C34878D82A}">
                    <a16:rowId xmlns:a16="http://schemas.microsoft.com/office/drawing/2014/main" val="2973891167"/>
                  </a:ext>
                </a:extLst>
              </a:tr>
              <a:tr h="628009">
                <a:tc>
                  <a:txBody>
                    <a:bodyPr/>
                    <a:lstStyle/>
                    <a:p>
                      <a:pPr algn="l" rtl="0" fontAlgn="base"/>
                      <a:r>
                        <a:rPr lang="en-US" sz="1250" b="1" dirty="0">
                          <a:solidFill>
                            <a:schemeClr val="accent1"/>
                          </a:solidFill>
                          <a:effectLst/>
                        </a:rPr>
                        <a:t>10:35 –11:25am </a:t>
                      </a:r>
                      <a:endParaRPr lang="en-US" sz="1250" b="1" i="0" dirty="0">
                        <a:solidFill>
                          <a:schemeClr val="accent1"/>
                        </a:solidFill>
                        <a:effectLst/>
                      </a:endParaRPr>
                    </a:p>
                  </a:txBody>
                  <a:tcPr/>
                </a:tc>
                <a:tc>
                  <a:txBody>
                    <a:bodyPr/>
                    <a:lstStyle/>
                    <a:p>
                      <a:pPr algn="l" rtl="0" fontAlgn="base"/>
                      <a:r>
                        <a:rPr lang="en-US" sz="1250" b="1" dirty="0">
                          <a:solidFill>
                            <a:schemeClr val="accent1"/>
                          </a:solidFill>
                          <a:effectLst/>
                        </a:rPr>
                        <a:t>Hospital Teams Panel: Sharing approaches that make a difference </a:t>
                      </a:r>
                      <a:endParaRPr lang="en-US" dirty="0"/>
                    </a:p>
                    <a:p>
                      <a:pPr algn="l" rtl="0" fontAlgn="base"/>
                      <a:r>
                        <a:rPr lang="en-US" sz="1250" b="1" dirty="0">
                          <a:solidFill>
                            <a:schemeClr val="accent3"/>
                          </a:solidFill>
                          <a:effectLst/>
                        </a:rPr>
                        <a:t>BE &amp; PVB teams to collaboratively share strategies </a:t>
                      </a:r>
                    </a:p>
                    <a:p>
                      <a:pPr lvl="0" algn="l">
                        <a:buNone/>
                      </a:pPr>
                      <a:endParaRPr lang="en-US" sz="1250" b="1" dirty="0">
                        <a:solidFill>
                          <a:schemeClr val="accent3"/>
                        </a:solidFill>
                        <a:effectLst/>
                      </a:endParaRPr>
                    </a:p>
                  </a:txBody>
                  <a:tcPr/>
                </a:tc>
                <a:extLst>
                  <a:ext uri="{0D108BD9-81ED-4DB2-BD59-A6C34878D82A}">
                    <a16:rowId xmlns:a16="http://schemas.microsoft.com/office/drawing/2014/main" val="455968319"/>
                  </a:ext>
                </a:extLst>
              </a:tr>
              <a:tr h="545375">
                <a:tc>
                  <a:txBody>
                    <a:bodyPr/>
                    <a:lstStyle/>
                    <a:p>
                      <a:pPr algn="l" rtl="0" fontAlgn="base"/>
                      <a:r>
                        <a:rPr lang="en-US" sz="1250" b="1" dirty="0">
                          <a:solidFill>
                            <a:schemeClr val="accent1"/>
                          </a:solidFill>
                          <a:effectLst/>
                        </a:rPr>
                        <a:t>11:25- 11:35am </a:t>
                      </a:r>
                      <a:endParaRPr lang="en-US" sz="1250" b="1" i="0">
                        <a:solidFill>
                          <a:schemeClr val="accent1"/>
                        </a:solidFill>
                        <a:effectLst/>
                      </a:endParaRPr>
                    </a:p>
                  </a:txBody>
                  <a:tcPr/>
                </a:tc>
                <a:tc>
                  <a:txBody>
                    <a:bodyPr/>
                    <a:lstStyle/>
                    <a:p>
                      <a:pPr lvl="0" algn="l" rtl="0">
                        <a:buNone/>
                      </a:pPr>
                      <a:r>
                        <a:rPr lang="en-US" sz="1250" b="1" dirty="0">
                          <a:solidFill>
                            <a:schemeClr val="accent1"/>
                          </a:solidFill>
                          <a:effectLst/>
                        </a:rPr>
                        <a:t>QI Awards Ceremony  </a:t>
                      </a:r>
                      <a:endParaRPr lang="en-US" sz="1250" b="1" i="0">
                        <a:solidFill>
                          <a:schemeClr val="accent1"/>
                        </a:solidFill>
                        <a:effectLst/>
                      </a:endParaRPr>
                    </a:p>
                  </a:txBody>
                  <a:tcPr/>
                </a:tc>
                <a:extLst>
                  <a:ext uri="{0D108BD9-81ED-4DB2-BD59-A6C34878D82A}">
                    <a16:rowId xmlns:a16="http://schemas.microsoft.com/office/drawing/2014/main" val="4290523175"/>
                  </a:ext>
                </a:extLst>
              </a:tr>
              <a:tr h="545375">
                <a:tc>
                  <a:txBody>
                    <a:bodyPr/>
                    <a:lstStyle/>
                    <a:p>
                      <a:pPr lvl="0" algn="l" rtl="0">
                        <a:buNone/>
                      </a:pPr>
                      <a:r>
                        <a:rPr lang="en-US" sz="1250" b="1" dirty="0">
                          <a:solidFill>
                            <a:schemeClr val="accent1"/>
                          </a:solidFill>
                          <a:effectLst/>
                        </a:rPr>
                        <a:t>11:35-12:15pm </a:t>
                      </a:r>
                      <a:endParaRPr lang="en-US" sz="1250" b="1" i="0">
                        <a:solidFill>
                          <a:schemeClr val="accent1"/>
                        </a:solidFill>
                        <a:effectLst/>
                      </a:endParaRPr>
                    </a:p>
                  </a:txBody>
                  <a:tcPr/>
                </a:tc>
                <a:tc>
                  <a:txBody>
                    <a:bodyPr/>
                    <a:lstStyle/>
                    <a:p>
                      <a:pPr lvl="0" algn="l" rtl="0">
                        <a:buNone/>
                      </a:pPr>
                      <a:r>
                        <a:rPr lang="en-US" sz="1100" b="1" dirty="0">
                          <a:solidFill>
                            <a:schemeClr val="accent1"/>
                          </a:solidFill>
                          <a:effectLst/>
                        </a:rPr>
                        <a:t>Team Storyboard Session </a:t>
                      </a:r>
                      <a:endParaRPr lang="en-US" b="1" i="0">
                        <a:solidFill>
                          <a:schemeClr val="accent1"/>
                        </a:solidFill>
                        <a:effectLst/>
                      </a:endParaRPr>
                    </a:p>
                  </a:txBody>
                  <a:tcPr/>
                </a:tc>
                <a:extLst>
                  <a:ext uri="{0D108BD9-81ED-4DB2-BD59-A6C34878D82A}">
                    <a16:rowId xmlns:a16="http://schemas.microsoft.com/office/drawing/2014/main" val="3239930266"/>
                  </a:ext>
                </a:extLst>
              </a:tr>
              <a:tr h="545375">
                <a:tc>
                  <a:txBody>
                    <a:bodyPr/>
                    <a:lstStyle/>
                    <a:p>
                      <a:pPr lvl="0" algn="l" rtl="0">
                        <a:buNone/>
                      </a:pPr>
                      <a:r>
                        <a:rPr lang="en-US" sz="1250" b="1" dirty="0">
                          <a:solidFill>
                            <a:schemeClr val="accent1"/>
                          </a:solidFill>
                          <a:effectLst/>
                        </a:rPr>
                        <a:t>12:15-12:45pm </a:t>
                      </a:r>
                      <a:endParaRPr lang="en-US" sz="1250" b="1" i="0">
                        <a:solidFill>
                          <a:schemeClr val="accent1"/>
                        </a:solidFill>
                        <a:effectLst/>
                      </a:endParaRPr>
                    </a:p>
                  </a:txBody>
                  <a:tcPr/>
                </a:tc>
                <a:tc>
                  <a:txBody>
                    <a:bodyPr/>
                    <a:lstStyle/>
                    <a:p>
                      <a:pPr lvl="0" algn="l" rtl="0">
                        <a:buNone/>
                      </a:pPr>
                      <a:r>
                        <a:rPr lang="en-US" sz="1100" b="1" dirty="0">
                          <a:solidFill>
                            <a:schemeClr val="accent1"/>
                          </a:solidFill>
                          <a:effectLst/>
                        </a:rPr>
                        <a:t>Networking Lunch </a:t>
                      </a:r>
                      <a:endParaRPr lang="en-US" b="1" i="0">
                        <a:solidFill>
                          <a:schemeClr val="accent1"/>
                        </a:solidFill>
                        <a:effectLst/>
                      </a:endParaRPr>
                    </a:p>
                  </a:txBody>
                  <a:tcPr/>
                </a:tc>
                <a:extLst>
                  <a:ext uri="{0D108BD9-81ED-4DB2-BD59-A6C34878D82A}">
                    <a16:rowId xmlns:a16="http://schemas.microsoft.com/office/drawing/2014/main" val="2019082210"/>
                  </a:ext>
                </a:extLst>
              </a:tr>
            </a:tbl>
          </a:graphicData>
        </a:graphic>
      </p:graphicFrame>
      <p:graphicFrame>
        <p:nvGraphicFramePr>
          <p:cNvPr id="17" name="Content Placeholder 7">
            <a:extLst>
              <a:ext uri="{FF2B5EF4-FFF2-40B4-BE49-F238E27FC236}">
                <a16:creationId xmlns:a16="http://schemas.microsoft.com/office/drawing/2014/main" id="{319315ED-FE26-46EC-8BD9-E533D7284CF9}"/>
              </a:ext>
            </a:extLst>
          </p:cNvPr>
          <p:cNvGraphicFramePr>
            <a:graphicFrameLocks/>
          </p:cNvGraphicFramePr>
          <p:nvPr>
            <p:extLst>
              <p:ext uri="{D42A27DB-BD31-4B8C-83A1-F6EECF244321}">
                <p14:modId xmlns:p14="http://schemas.microsoft.com/office/powerpoint/2010/main" val="1274509635"/>
              </p:ext>
            </p:extLst>
          </p:nvPr>
        </p:nvGraphicFramePr>
        <p:xfrm>
          <a:off x="5477773" y="1984075"/>
          <a:ext cx="6689370" cy="5072315"/>
        </p:xfrm>
        <a:graphic>
          <a:graphicData uri="http://schemas.openxmlformats.org/drawingml/2006/table">
            <a:tbl>
              <a:tblPr firstRow="1" bandRow="1">
                <a:tableStyleId>{5C22544A-7EE6-4342-B048-85BDC9FD1C3A}</a:tableStyleId>
              </a:tblPr>
              <a:tblGrid>
                <a:gridCol w="756697">
                  <a:extLst>
                    <a:ext uri="{9D8B030D-6E8A-4147-A177-3AD203B41FA5}">
                      <a16:colId xmlns:a16="http://schemas.microsoft.com/office/drawing/2014/main" val="2891568701"/>
                    </a:ext>
                  </a:extLst>
                </a:gridCol>
                <a:gridCol w="5932673">
                  <a:extLst>
                    <a:ext uri="{9D8B030D-6E8A-4147-A177-3AD203B41FA5}">
                      <a16:colId xmlns:a16="http://schemas.microsoft.com/office/drawing/2014/main" val="2893197933"/>
                    </a:ext>
                  </a:extLst>
                </a:gridCol>
              </a:tblGrid>
              <a:tr h="441439">
                <a:tc>
                  <a:txBody>
                    <a:bodyPr/>
                    <a:lstStyle/>
                    <a:p>
                      <a:pPr algn="l" rtl="0" fontAlgn="base"/>
                      <a:r>
                        <a:rPr lang="en-US" sz="1250" b="1" dirty="0">
                          <a:solidFill>
                            <a:schemeClr val="accent1"/>
                          </a:solidFill>
                          <a:effectLst/>
                        </a:rPr>
                        <a:t>12:45-1:45pm </a:t>
                      </a:r>
                      <a:endParaRPr lang="en-US" sz="1250" b="1" i="0" dirty="0">
                        <a:solidFill>
                          <a:schemeClr val="accent1"/>
                        </a:solidFill>
                        <a:effectLst/>
                      </a:endParaRPr>
                    </a:p>
                  </a:txBody>
                  <a:tcPr>
                    <a:solidFill>
                      <a:srgbClr val="E7E9EE"/>
                    </a:solidFill>
                  </a:tcPr>
                </a:tc>
                <a:tc>
                  <a:txBody>
                    <a:bodyPr/>
                    <a:lstStyle/>
                    <a:p>
                      <a:pPr algn="l" rtl="0" fontAlgn="base"/>
                      <a:r>
                        <a:rPr lang="en-US" sz="1100" b="1" dirty="0">
                          <a:solidFill>
                            <a:schemeClr val="accent1"/>
                          </a:solidFill>
                          <a:effectLst/>
                        </a:rPr>
                        <a:t>Engaging Patient / Community Partners to Optimize Birth Equity </a:t>
                      </a:r>
                      <a:endParaRPr lang="en-US" b="1" dirty="0">
                        <a:solidFill>
                          <a:schemeClr val="accent1"/>
                        </a:solidFill>
                        <a:effectLst/>
                      </a:endParaRPr>
                    </a:p>
                    <a:p>
                      <a:pPr algn="l" rtl="0" fontAlgn="base"/>
                      <a:r>
                        <a:rPr lang="en-US" sz="1100" b="1" dirty="0">
                          <a:solidFill>
                            <a:schemeClr val="accent3"/>
                          </a:solidFill>
                          <a:effectLst/>
                        </a:rPr>
                        <a:t>Dr. Ebony Carter, MD, MPH with 2 community partners </a:t>
                      </a:r>
                      <a:endParaRPr lang="en-US" b="1" i="0">
                        <a:solidFill>
                          <a:schemeClr val="accent3"/>
                        </a:solidFill>
                        <a:effectLst/>
                      </a:endParaRPr>
                    </a:p>
                  </a:txBody>
                  <a:tcPr>
                    <a:solidFill>
                      <a:srgbClr val="E7E9EE"/>
                    </a:solidFill>
                  </a:tcPr>
                </a:tc>
                <a:extLst>
                  <a:ext uri="{0D108BD9-81ED-4DB2-BD59-A6C34878D82A}">
                    <a16:rowId xmlns:a16="http://schemas.microsoft.com/office/drawing/2014/main" val="3072989986"/>
                  </a:ext>
                </a:extLst>
              </a:tr>
              <a:tr h="621285">
                <a:tc>
                  <a:txBody>
                    <a:bodyPr/>
                    <a:lstStyle/>
                    <a:p>
                      <a:pPr algn="l" rtl="0" fontAlgn="base"/>
                      <a:r>
                        <a:rPr lang="en-US" sz="1250" b="1" dirty="0">
                          <a:solidFill>
                            <a:schemeClr val="accent1"/>
                          </a:solidFill>
                          <a:effectLst/>
                        </a:rPr>
                        <a:t>1:45-2:00pm  </a:t>
                      </a:r>
                      <a:endParaRPr lang="en-US" sz="1250" b="1" i="0" dirty="0">
                        <a:solidFill>
                          <a:schemeClr val="accent1"/>
                        </a:solidFill>
                        <a:effectLst/>
                      </a:endParaRPr>
                    </a:p>
                  </a:txBody>
                  <a:tcPr/>
                </a:tc>
                <a:tc>
                  <a:txBody>
                    <a:bodyPr/>
                    <a:lstStyle/>
                    <a:p>
                      <a:pPr algn="l" rtl="0" fontAlgn="base"/>
                      <a:r>
                        <a:rPr lang="en-US" sz="1100" b="1" dirty="0">
                          <a:solidFill>
                            <a:schemeClr val="accent1"/>
                          </a:solidFill>
                          <a:effectLst/>
                        </a:rPr>
                        <a:t>Transition to Breakout Sessions/Break </a:t>
                      </a:r>
                      <a:endParaRPr lang="en-US" b="1" i="0" dirty="0">
                        <a:solidFill>
                          <a:schemeClr val="accent1"/>
                        </a:solidFill>
                        <a:effectLst/>
                      </a:endParaRPr>
                    </a:p>
                  </a:txBody>
                  <a:tcPr/>
                </a:tc>
                <a:extLst>
                  <a:ext uri="{0D108BD9-81ED-4DB2-BD59-A6C34878D82A}">
                    <a16:rowId xmlns:a16="http://schemas.microsoft.com/office/drawing/2014/main" val="454026735"/>
                  </a:ext>
                </a:extLst>
              </a:tr>
              <a:tr h="2207195">
                <a:tc>
                  <a:txBody>
                    <a:bodyPr/>
                    <a:lstStyle/>
                    <a:p>
                      <a:pPr fontAlgn="t"/>
                      <a:endParaRPr lang="en-US" sz="1250" b="1" dirty="0">
                        <a:solidFill>
                          <a:schemeClr val="accent1"/>
                        </a:solidFill>
                        <a:effectLst/>
                      </a:endParaRPr>
                    </a:p>
                    <a:p>
                      <a:pPr algn="l" rtl="0" fontAlgn="base"/>
                      <a:r>
                        <a:rPr lang="en-US" sz="1250" b="1" dirty="0">
                          <a:solidFill>
                            <a:schemeClr val="accent1"/>
                          </a:solidFill>
                          <a:effectLst/>
                        </a:rPr>
                        <a:t>2:00- 2:45pm </a:t>
                      </a:r>
                      <a:endParaRPr lang="en-US" sz="1250" b="1" i="0">
                        <a:solidFill>
                          <a:schemeClr val="accent1"/>
                        </a:solidFill>
                        <a:effectLst/>
                      </a:endParaRPr>
                    </a:p>
                  </a:txBody>
                  <a:tcPr/>
                </a:tc>
                <a:tc>
                  <a:txBody>
                    <a:bodyPr/>
                    <a:lstStyle/>
                    <a:p>
                      <a:pPr algn="l" rtl="0" fontAlgn="base"/>
                      <a:r>
                        <a:rPr lang="en-US" sz="1100" b="1" dirty="0">
                          <a:solidFill>
                            <a:schemeClr val="accent1"/>
                          </a:solidFill>
                          <a:effectLst/>
                        </a:rPr>
                        <a:t>Breakout Session 1: Small Group Key Topic Discussions on Implementation Strategies (8 sessions) </a:t>
                      </a:r>
                      <a:endParaRPr lang="en-US" b="1">
                        <a:solidFill>
                          <a:schemeClr val="accent1"/>
                        </a:solidFill>
                        <a:effectLst/>
                      </a:endParaRPr>
                    </a:p>
                    <a:p>
                      <a:pPr algn="l" rtl="0" fontAlgn="base"/>
                      <a:r>
                        <a:rPr lang="en-US" sz="1100" b="1" dirty="0">
                          <a:solidFill>
                            <a:schemeClr val="accent1"/>
                          </a:solidFill>
                          <a:effectLst/>
                        </a:rPr>
                        <a:t>Co-facilitated by IL perinatal network administrators, educators, and OB/Neonatal providers and nurse</a:t>
                      </a:r>
                      <a:r>
                        <a:rPr lang="en-US" sz="1100" b="1" dirty="0">
                          <a:effectLst/>
                        </a:rPr>
                        <a:t>s  </a:t>
                      </a:r>
                      <a:endParaRPr lang="en-US" b="1" dirty="0">
                        <a:effectLst/>
                      </a:endParaRPr>
                    </a:p>
                    <a:p>
                      <a:pPr marL="342900" lvl="0" indent="-342900" algn="l" rtl="0" fontAlgn="base">
                        <a:buFont typeface="Arial" panose="020B0604020202020204" pitchFamily="34" charset="0"/>
                        <a:buChar char="•"/>
                      </a:pPr>
                      <a:r>
                        <a:rPr lang="en-US" sz="1100" b="0" dirty="0">
                          <a:solidFill>
                            <a:schemeClr val="accent1"/>
                          </a:solidFill>
                          <a:effectLst/>
                        </a:rPr>
                        <a:t>BE: Social Determinants of Health Screening and Linkage to Resources </a:t>
                      </a:r>
                    </a:p>
                    <a:p>
                      <a:pPr marL="342900" lvl="0" indent="-342900" algn="l" rtl="0" fontAlgn="base">
                        <a:buFont typeface="Arial" panose="020B0604020202020204" pitchFamily="34" charset="0"/>
                        <a:buChar char="•"/>
                      </a:pPr>
                      <a:r>
                        <a:rPr lang="en-US" sz="1100" b="0" dirty="0">
                          <a:solidFill>
                            <a:schemeClr val="accent1"/>
                          </a:solidFill>
                          <a:effectLst/>
                        </a:rPr>
                        <a:t>BE: Active implementation of Respectful Care Practices and PREM survey </a:t>
                      </a:r>
                    </a:p>
                    <a:p>
                      <a:pPr marL="342900" lvl="0" indent="-342900" algn="l" rtl="0" fontAlgn="base">
                        <a:buFont typeface="Arial" panose="020B0604020202020204" pitchFamily="34" charset="0"/>
                        <a:buChar char="•"/>
                      </a:pPr>
                      <a:r>
                        <a:rPr lang="en-US" sz="1100" b="0" dirty="0">
                          <a:solidFill>
                            <a:schemeClr val="accent1"/>
                          </a:solidFill>
                          <a:effectLst/>
                        </a:rPr>
                        <a:t>BE: Moving Patient and Community Engagement forward at your hospital  </a:t>
                      </a:r>
                    </a:p>
                    <a:p>
                      <a:pPr marL="342900" lvl="0" indent="-342900" algn="l" rtl="0" fontAlgn="base">
                        <a:buFont typeface="Arial" panose="020B0604020202020204" pitchFamily="34" charset="0"/>
                        <a:buChar char="•"/>
                      </a:pPr>
                      <a:r>
                        <a:rPr lang="en-US" sz="1100" b="0" dirty="0">
                          <a:solidFill>
                            <a:schemeClr val="accent1"/>
                          </a:solidFill>
                          <a:effectLst/>
                        </a:rPr>
                        <a:t>BE/PVB: Stratify your NTSV Data and Actively Address Disparities  </a:t>
                      </a:r>
                    </a:p>
                    <a:p>
                      <a:pPr marL="342900" lvl="0" indent="-342900" algn="l" rtl="0" fontAlgn="base">
                        <a:buFont typeface="Arial" panose="020B0604020202020204" pitchFamily="34" charset="0"/>
                        <a:buChar char="•"/>
                      </a:pPr>
                      <a:r>
                        <a:rPr lang="en-US" sz="1100" b="0" dirty="0">
                          <a:solidFill>
                            <a:schemeClr val="accent1"/>
                          </a:solidFill>
                          <a:effectLst/>
                        </a:rPr>
                        <a:t>PVB: Checklist and Huddles Strategies that Promote Shared Decision Making  </a:t>
                      </a:r>
                    </a:p>
                    <a:p>
                      <a:pPr marL="342900" lvl="0" indent="-342900" algn="l" rtl="0" fontAlgn="base">
                        <a:buFont typeface="Arial" panose="020B0604020202020204" pitchFamily="34" charset="0"/>
                        <a:buChar char="•"/>
                      </a:pPr>
                      <a:r>
                        <a:rPr lang="en-US" sz="1100" b="0" dirty="0">
                          <a:solidFill>
                            <a:schemeClr val="accent1"/>
                          </a:solidFill>
                          <a:effectLst/>
                        </a:rPr>
                        <a:t>PVB: Sharing Provider Data and Using Data to Drive QI </a:t>
                      </a:r>
                    </a:p>
                    <a:p>
                      <a:pPr marL="342900" lvl="0" indent="-342900" algn="l" rtl="0" fontAlgn="base">
                        <a:buFont typeface="Arial" panose="020B0604020202020204" pitchFamily="34" charset="0"/>
                        <a:buChar char="•"/>
                      </a:pPr>
                      <a:r>
                        <a:rPr lang="en-US" sz="1100" b="0" dirty="0">
                          <a:solidFill>
                            <a:schemeClr val="accent1"/>
                          </a:solidFill>
                          <a:effectLst/>
                        </a:rPr>
                        <a:t>PVB: Implementing Fallout Reviews and Sharing Results with Clinical Team Members  </a:t>
                      </a:r>
                    </a:p>
                    <a:p>
                      <a:pPr marL="342900" lvl="0" indent="-342900" algn="l" rtl="0" fontAlgn="base">
                        <a:buFont typeface="Arial" panose="020B0604020202020204" pitchFamily="34" charset="0"/>
                        <a:buChar char="•"/>
                      </a:pPr>
                      <a:r>
                        <a:rPr lang="en-US" sz="1100" b="0" dirty="0">
                          <a:solidFill>
                            <a:schemeClr val="accent1"/>
                          </a:solidFill>
                          <a:effectLst/>
                        </a:rPr>
                        <a:t>MNO-OB: New Resources to Address Maternal Overdose Deaths and Sustain Optimal OUD Care </a:t>
                      </a:r>
                      <a:endParaRPr lang="en-US" sz="1100" b="0" i="0">
                        <a:solidFill>
                          <a:schemeClr val="accent1"/>
                        </a:solidFill>
                        <a:effectLst/>
                        <a:latin typeface="Calibri"/>
                      </a:endParaRPr>
                    </a:p>
                  </a:txBody>
                  <a:tcPr/>
                </a:tc>
                <a:extLst>
                  <a:ext uri="{0D108BD9-81ED-4DB2-BD59-A6C34878D82A}">
                    <a16:rowId xmlns:a16="http://schemas.microsoft.com/office/drawing/2014/main" val="3507649981"/>
                  </a:ext>
                </a:extLst>
              </a:tr>
              <a:tr h="441439">
                <a:tc>
                  <a:txBody>
                    <a:bodyPr/>
                    <a:lstStyle/>
                    <a:p>
                      <a:pPr algn="l" rtl="0" fontAlgn="base"/>
                      <a:r>
                        <a:rPr lang="en-US" sz="1250" b="1" dirty="0">
                          <a:solidFill>
                            <a:schemeClr val="accent1"/>
                          </a:solidFill>
                          <a:effectLst/>
                        </a:rPr>
                        <a:t>2:45-3:00pm </a:t>
                      </a:r>
                      <a:endParaRPr lang="en-US" sz="1250" b="1" i="0" dirty="0">
                        <a:solidFill>
                          <a:schemeClr val="accent1"/>
                        </a:solidFill>
                        <a:effectLst/>
                      </a:endParaRPr>
                    </a:p>
                  </a:txBody>
                  <a:tcPr/>
                </a:tc>
                <a:tc>
                  <a:txBody>
                    <a:bodyPr/>
                    <a:lstStyle/>
                    <a:p>
                      <a:pPr algn="l" rtl="0" fontAlgn="base"/>
                      <a:r>
                        <a:rPr lang="en-US" sz="1100" b="1" dirty="0">
                          <a:solidFill>
                            <a:schemeClr val="accent1"/>
                          </a:solidFill>
                          <a:effectLst/>
                        </a:rPr>
                        <a:t>Transition/Break </a:t>
                      </a:r>
                      <a:endParaRPr lang="en-US" b="1" i="0" dirty="0">
                        <a:solidFill>
                          <a:schemeClr val="accent1"/>
                        </a:solidFill>
                        <a:effectLst/>
                      </a:endParaRPr>
                    </a:p>
                  </a:txBody>
                  <a:tcPr/>
                </a:tc>
                <a:extLst>
                  <a:ext uri="{0D108BD9-81ED-4DB2-BD59-A6C34878D82A}">
                    <a16:rowId xmlns:a16="http://schemas.microsoft.com/office/drawing/2014/main" val="2150093263"/>
                  </a:ext>
                </a:extLst>
              </a:tr>
              <a:tr h="572236">
                <a:tc>
                  <a:txBody>
                    <a:bodyPr/>
                    <a:lstStyle/>
                    <a:p>
                      <a:pPr algn="l" rtl="0" fontAlgn="base"/>
                      <a:r>
                        <a:rPr lang="en-US" sz="1250" b="1" dirty="0">
                          <a:solidFill>
                            <a:schemeClr val="accent1"/>
                          </a:solidFill>
                          <a:effectLst/>
                        </a:rPr>
                        <a:t>3:00-3:45pm </a:t>
                      </a:r>
                      <a:endParaRPr lang="en-US" sz="1250" b="1" i="0" dirty="0">
                        <a:solidFill>
                          <a:schemeClr val="accent1"/>
                        </a:solidFill>
                        <a:effectLst/>
                      </a:endParaRPr>
                    </a:p>
                  </a:txBody>
                  <a:tcPr/>
                </a:tc>
                <a:tc>
                  <a:txBody>
                    <a:bodyPr/>
                    <a:lstStyle/>
                    <a:p>
                      <a:pPr algn="l" rtl="0" fontAlgn="base"/>
                      <a:r>
                        <a:rPr lang="en-US" sz="1100" b="1" dirty="0">
                          <a:solidFill>
                            <a:schemeClr val="accent1"/>
                          </a:solidFill>
                          <a:effectLst/>
                        </a:rPr>
                        <a:t>Breakout Session 2: Small Group Key Topic Discussions on Implementation Strategies </a:t>
                      </a:r>
                      <a:endParaRPr lang="en-US" b="1">
                        <a:solidFill>
                          <a:schemeClr val="accent1"/>
                        </a:solidFill>
                        <a:effectLst/>
                      </a:endParaRPr>
                    </a:p>
                    <a:p>
                      <a:pPr algn="l" rtl="0" fontAlgn="base"/>
                      <a:r>
                        <a:rPr lang="en-US" sz="1100" b="1" dirty="0">
                          <a:solidFill>
                            <a:schemeClr val="accent1"/>
                          </a:solidFill>
                          <a:effectLst/>
                        </a:rPr>
                        <a:t>Co-facilitated by IL perinatal network administrators, educators, and </a:t>
                      </a:r>
                      <a:endParaRPr lang="en-US" b="1" dirty="0">
                        <a:solidFill>
                          <a:schemeClr val="accent1"/>
                        </a:solidFill>
                        <a:effectLst/>
                      </a:endParaRPr>
                    </a:p>
                    <a:p>
                      <a:pPr marL="342900" lvl="0" indent="-342900" algn="l" rtl="0" fontAlgn="base">
                        <a:buFont typeface="Arial" panose="020B0604020202020204" pitchFamily="34" charset="0"/>
                        <a:buChar char="•"/>
                      </a:pPr>
                      <a:r>
                        <a:rPr lang="en-US" sz="1100" b="0" dirty="0">
                          <a:solidFill>
                            <a:schemeClr val="accent1"/>
                          </a:solidFill>
                          <a:effectLst/>
                        </a:rPr>
                        <a:t>See list of sessions above </a:t>
                      </a:r>
                      <a:endParaRPr lang="en-US" sz="1100" b="0" i="0">
                        <a:solidFill>
                          <a:schemeClr val="accent1"/>
                        </a:solidFill>
                        <a:effectLst/>
                        <a:latin typeface="Calibri"/>
                      </a:endParaRPr>
                    </a:p>
                  </a:txBody>
                  <a:tcPr/>
                </a:tc>
                <a:extLst>
                  <a:ext uri="{0D108BD9-81ED-4DB2-BD59-A6C34878D82A}">
                    <a16:rowId xmlns:a16="http://schemas.microsoft.com/office/drawing/2014/main" val="3015995459"/>
                  </a:ext>
                </a:extLst>
              </a:tr>
              <a:tr h="621285">
                <a:tc>
                  <a:txBody>
                    <a:bodyPr/>
                    <a:lstStyle/>
                    <a:p>
                      <a:pPr algn="l" rtl="0" fontAlgn="base"/>
                      <a:r>
                        <a:rPr lang="en-US" sz="1250" b="1" dirty="0">
                          <a:solidFill>
                            <a:schemeClr val="accent1"/>
                          </a:solidFill>
                          <a:effectLst/>
                        </a:rPr>
                        <a:t>3:45-4:00pm  </a:t>
                      </a:r>
                      <a:endParaRPr lang="en-US" sz="1250" b="1" i="0">
                        <a:solidFill>
                          <a:schemeClr val="accent1"/>
                        </a:solidFill>
                        <a:effectLst/>
                      </a:endParaRPr>
                    </a:p>
                  </a:txBody>
                  <a:tcPr/>
                </a:tc>
                <a:tc>
                  <a:txBody>
                    <a:bodyPr/>
                    <a:lstStyle/>
                    <a:p>
                      <a:pPr algn="l" rtl="0" fontAlgn="base"/>
                      <a:r>
                        <a:rPr lang="en-US" sz="1100" b="1" dirty="0">
                          <a:solidFill>
                            <a:schemeClr val="accent1"/>
                          </a:solidFill>
                          <a:effectLst/>
                        </a:rPr>
                        <a:t>Wrap-up, evaluation, raffle, and next steps for 2023 </a:t>
                      </a:r>
                      <a:endParaRPr lang="en-US" b="1" dirty="0">
                        <a:solidFill>
                          <a:schemeClr val="accent1"/>
                        </a:solidFill>
                        <a:effectLst/>
                      </a:endParaRPr>
                    </a:p>
                    <a:p>
                      <a:pPr algn="l" rtl="0" fontAlgn="base"/>
                      <a:r>
                        <a:rPr lang="en-US" sz="1100" b="1" dirty="0">
                          <a:solidFill>
                            <a:schemeClr val="accent3"/>
                          </a:solidFill>
                          <a:effectLst/>
                        </a:rPr>
                        <a:t>Ann Borders, MD, MSc, MPH </a:t>
                      </a:r>
                      <a:endParaRPr lang="en-US" b="1" i="0">
                        <a:solidFill>
                          <a:schemeClr val="accent3"/>
                        </a:solidFill>
                        <a:effectLst/>
                      </a:endParaRPr>
                    </a:p>
                  </a:txBody>
                  <a:tcPr/>
                </a:tc>
                <a:extLst>
                  <a:ext uri="{0D108BD9-81ED-4DB2-BD59-A6C34878D82A}">
                    <a16:rowId xmlns:a16="http://schemas.microsoft.com/office/drawing/2014/main" val="645826317"/>
                  </a:ext>
                </a:extLst>
              </a:tr>
            </a:tbl>
          </a:graphicData>
        </a:graphic>
      </p:graphicFrame>
    </p:spTree>
    <p:extLst>
      <p:ext uri="{BB962C8B-B14F-4D97-AF65-F5344CB8AC3E}">
        <p14:creationId xmlns:p14="http://schemas.microsoft.com/office/powerpoint/2010/main" val="256022611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489" y="217007"/>
            <a:ext cx="5863993" cy="1497215"/>
          </a:xfrm>
        </p:spPr>
        <p:txBody>
          <a:bodyPr lIns="121920" tIns="60960" rIns="121920" bIns="60960" anchor="b"/>
          <a:lstStyle/>
          <a:p>
            <a:r>
              <a:rPr lang="en-US">
                <a:latin typeface="Verdana"/>
                <a:ea typeface="Verdana"/>
              </a:rPr>
              <a:t>Continued Implementation</a:t>
            </a:r>
            <a:endParaRPr lang="en-US"/>
          </a:p>
        </p:txBody>
      </p:sp>
      <p:sp>
        <p:nvSpPr>
          <p:cNvPr id="4" name="Text Placeholder 3"/>
          <p:cNvSpPr>
            <a:spLocks noGrp="1"/>
          </p:cNvSpPr>
          <p:nvPr>
            <p:ph type="body" sz="half" idx="2"/>
          </p:nvPr>
        </p:nvSpPr>
        <p:spPr>
          <a:xfrm>
            <a:off x="866029" y="1949138"/>
            <a:ext cx="4369303" cy="3437697"/>
          </a:xfrm>
        </p:spPr>
        <p:txBody>
          <a:bodyPr lIns="121920" tIns="60960" rIns="121920" bIns="60960" anchor="t"/>
          <a:lstStyle/>
          <a:p>
            <a:endParaRPr lang="en-US"/>
          </a:p>
          <a:p>
            <a:endParaRPr lang="en-US"/>
          </a:p>
        </p:txBody>
      </p:sp>
      <p:sp>
        <p:nvSpPr>
          <p:cNvPr id="8" name="Text Placeholder 2">
            <a:extLst>
              <a:ext uri="{FF2B5EF4-FFF2-40B4-BE49-F238E27FC236}">
                <a16:creationId xmlns:a16="http://schemas.microsoft.com/office/drawing/2014/main" id="{FDAE2AE4-E9F1-9C8A-578F-390C1BDCBA98}"/>
              </a:ext>
            </a:extLst>
          </p:cNvPr>
          <p:cNvSpPr txBox="1">
            <a:spLocks/>
          </p:cNvSpPr>
          <p:nvPr/>
        </p:nvSpPr>
        <p:spPr>
          <a:xfrm>
            <a:off x="790168" y="1566171"/>
            <a:ext cx="5175088" cy="3802348"/>
          </a:xfrm>
          <a:prstGeom prst="rect">
            <a:avLst/>
          </a:prstGeom>
        </p:spPr>
        <p:txBody>
          <a:bodyPr lIns="121920" tIns="60960" rIns="121920" bIns="60960" anchor="t"/>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2800">
              <a:latin typeface="Verdana"/>
              <a:ea typeface="Verdana"/>
            </a:endParaRPr>
          </a:p>
          <a:p>
            <a:pPr>
              <a:buFont typeface="Arial"/>
              <a:buChar char="•"/>
            </a:pPr>
            <a:endParaRPr lang="en-US" sz="2800">
              <a:latin typeface="Calibri" panose="020F0502020204030204"/>
              <a:ea typeface="Verdana"/>
              <a:cs typeface="Calibri" panose="020F0502020204030204"/>
            </a:endParaRPr>
          </a:p>
          <a:p>
            <a:pPr>
              <a:buFont typeface="Arial" panose="020B0604020202020204" pitchFamily="34" charset="0"/>
              <a:buChar char="•"/>
            </a:pPr>
            <a:endParaRPr lang="en-US" sz="2800">
              <a:latin typeface="Calibri" panose="020F0502020204030204"/>
              <a:ea typeface="Verdana"/>
              <a:cs typeface="Calibri" panose="020F0502020204030204"/>
            </a:endParaRPr>
          </a:p>
        </p:txBody>
      </p:sp>
      <p:sp>
        <p:nvSpPr>
          <p:cNvPr id="9" name="TextBox 8">
            <a:extLst>
              <a:ext uri="{FF2B5EF4-FFF2-40B4-BE49-F238E27FC236}">
                <a16:creationId xmlns:a16="http://schemas.microsoft.com/office/drawing/2014/main" id="{2ECB4B68-C04F-B6D2-15AB-7678F081D40F}"/>
              </a:ext>
            </a:extLst>
          </p:cNvPr>
          <p:cNvSpPr txBox="1"/>
          <p:nvPr/>
        </p:nvSpPr>
        <p:spPr>
          <a:xfrm>
            <a:off x="593652" y="1949303"/>
            <a:ext cx="5307417" cy="5047536"/>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en-US" sz="3200">
                <a:cs typeface="Calibri" panose="020F0502020204030204"/>
              </a:rPr>
              <a:t>Unit Council Sponsored Projects </a:t>
            </a:r>
          </a:p>
          <a:p>
            <a:pPr marL="990575" lvl="1" indent="-380990">
              <a:buFont typeface="Arial"/>
              <a:buChar char="•"/>
            </a:pPr>
            <a:r>
              <a:rPr lang="en-US" sz="3200">
                <a:cs typeface="Calibri" panose="020F0502020204030204"/>
              </a:rPr>
              <a:t>QR code added admission folder</a:t>
            </a:r>
          </a:p>
          <a:p>
            <a:pPr marL="990575" lvl="1" indent="-380990">
              <a:buFont typeface="Arial"/>
              <a:buChar char="•"/>
            </a:pPr>
            <a:r>
              <a:rPr lang="en-US" sz="3200">
                <a:cs typeface="Calibri" panose="020F0502020204030204"/>
              </a:rPr>
              <a:t>QR code added to discharge checklist</a:t>
            </a:r>
          </a:p>
          <a:p>
            <a:pPr marL="990575" lvl="1" indent="-380990">
              <a:buFont typeface="Arial"/>
              <a:buChar char="•"/>
            </a:pPr>
            <a:r>
              <a:rPr lang="en-US" sz="3200">
                <a:cs typeface="Calibri" panose="020F0502020204030204"/>
              </a:rPr>
              <a:t>Multiple languages handout added to admission folder</a:t>
            </a:r>
          </a:p>
          <a:p>
            <a:pPr marL="990575" lvl="1" indent="-380990">
              <a:buFont typeface="Arial"/>
              <a:buChar char="•"/>
            </a:pPr>
            <a:r>
              <a:rPr lang="en-US" sz="3200">
                <a:cs typeface="Calibri" panose="020F0502020204030204"/>
              </a:rPr>
              <a:t>Burp cloth incentive</a:t>
            </a:r>
          </a:p>
        </p:txBody>
      </p:sp>
      <p:pic>
        <p:nvPicPr>
          <p:cNvPr id="16" name="Picture 16" descr="Text&#10;&#10;Description automatically generated">
            <a:extLst>
              <a:ext uri="{FF2B5EF4-FFF2-40B4-BE49-F238E27FC236}">
                <a16:creationId xmlns:a16="http://schemas.microsoft.com/office/drawing/2014/main" id="{00D4E86F-FF52-9B02-CAB6-B6E6142393E6}"/>
              </a:ext>
            </a:extLst>
          </p:cNvPr>
          <p:cNvPicPr>
            <a:picLocks noGrp="1" noChangeAspect="1"/>
          </p:cNvPicPr>
          <p:nvPr>
            <p:ph type="pic" idx="1"/>
          </p:nvPr>
        </p:nvPicPr>
        <p:blipFill rotWithShape="1">
          <a:blip r:embed="rId2"/>
          <a:srcRect t="828" b="828"/>
          <a:stretch/>
        </p:blipFill>
        <p:spPr>
          <a:xfrm>
            <a:off x="6760211" y="30480"/>
            <a:ext cx="4984749" cy="6292851"/>
          </a:xfrm>
        </p:spPr>
      </p:pic>
    </p:spTree>
    <p:extLst>
      <p:ext uri="{BB962C8B-B14F-4D97-AF65-F5344CB8AC3E}">
        <p14:creationId xmlns:p14="http://schemas.microsoft.com/office/powerpoint/2010/main" val="213320016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2361" y="478431"/>
            <a:ext cx="10767801" cy="787908"/>
          </a:xfrm>
        </p:spPr>
        <p:txBody>
          <a:bodyPr wrap="square" lIns="121920" tIns="60960" rIns="121920" bIns="60960" anchor="b" anchorCtr="0">
            <a:spAutoFit/>
          </a:bodyPr>
          <a:lstStyle/>
          <a:p>
            <a:r>
              <a:rPr lang="en-US">
                <a:latin typeface="Verdana"/>
                <a:ea typeface="Verdana"/>
              </a:rPr>
              <a:t>Birth Cloth Incentive</a:t>
            </a:r>
            <a:endParaRPr lang="en-US"/>
          </a:p>
        </p:txBody>
      </p:sp>
      <p:pic>
        <p:nvPicPr>
          <p:cNvPr id="5" name="Picture 5" descr="Text&#10;&#10;Description automatically generated">
            <a:extLst>
              <a:ext uri="{FF2B5EF4-FFF2-40B4-BE49-F238E27FC236}">
                <a16:creationId xmlns:a16="http://schemas.microsoft.com/office/drawing/2014/main" id="{744DD183-15B7-5CB0-B71D-B5B29DDD7BE2}"/>
              </a:ext>
            </a:extLst>
          </p:cNvPr>
          <p:cNvPicPr>
            <a:picLocks noGrp="1" noChangeAspect="1"/>
          </p:cNvPicPr>
          <p:nvPr>
            <p:ph idx="1"/>
          </p:nvPr>
        </p:nvPicPr>
        <p:blipFill>
          <a:blip r:embed="rId2"/>
          <a:stretch>
            <a:fillRect/>
          </a:stretch>
        </p:blipFill>
        <p:spPr>
          <a:xfrm rot="16200000">
            <a:off x="5646551" y="765418"/>
            <a:ext cx="4338411" cy="5804868"/>
          </a:xfrm>
        </p:spPr>
      </p:pic>
      <p:sp>
        <p:nvSpPr>
          <p:cNvPr id="4" name="Text Placeholder 3"/>
          <p:cNvSpPr>
            <a:spLocks noGrp="1"/>
          </p:cNvSpPr>
          <p:nvPr>
            <p:ph type="body" sz="half" idx="2"/>
          </p:nvPr>
        </p:nvSpPr>
        <p:spPr>
          <a:xfrm>
            <a:off x="852361" y="1408107"/>
            <a:ext cx="3351001" cy="3136541"/>
          </a:xfrm>
        </p:spPr>
        <p:txBody>
          <a:bodyPr lIns="121920" tIns="60960" rIns="121920" bIns="60960" anchor="t"/>
          <a:lstStyle/>
          <a:p>
            <a:pPr marL="380990" indent="-380990">
              <a:buChar char="•"/>
            </a:pPr>
            <a:r>
              <a:rPr lang="en-US">
                <a:latin typeface="Verdana"/>
                <a:ea typeface="Verdana"/>
              </a:rPr>
              <a:t>Went live February 1st, 2023</a:t>
            </a:r>
          </a:p>
          <a:p>
            <a:endParaRPr lang="en-US">
              <a:latin typeface="Verdana"/>
              <a:ea typeface="Verdana"/>
            </a:endParaRPr>
          </a:p>
          <a:p>
            <a:pPr marL="380990" indent="-380990">
              <a:buChar char="•"/>
            </a:pPr>
            <a:r>
              <a:rPr lang="en-US">
                <a:latin typeface="Verdana"/>
                <a:ea typeface="Verdana"/>
              </a:rPr>
              <a:t>Burp cloths created by volunteer</a:t>
            </a:r>
          </a:p>
          <a:p>
            <a:pPr marL="380990" indent="-380990">
              <a:buChar char="•"/>
            </a:pPr>
            <a:endParaRPr lang="en-US">
              <a:latin typeface="Verdana"/>
              <a:ea typeface="Verdana"/>
            </a:endParaRPr>
          </a:p>
          <a:p>
            <a:pPr marL="380990" indent="-380990">
              <a:buChar char="•"/>
            </a:pPr>
            <a:r>
              <a:rPr lang="en-US">
                <a:latin typeface="Verdana"/>
                <a:ea typeface="Verdana"/>
              </a:rPr>
              <a:t>Unit council created informational card</a:t>
            </a:r>
            <a:endParaRPr lang="en-US"/>
          </a:p>
        </p:txBody>
      </p:sp>
    </p:spTree>
    <p:extLst>
      <p:ext uri="{BB962C8B-B14F-4D97-AF65-F5344CB8AC3E}">
        <p14:creationId xmlns:p14="http://schemas.microsoft.com/office/powerpoint/2010/main" val="97174655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0338" y="549315"/>
            <a:ext cx="10767801" cy="787908"/>
          </a:xfrm>
        </p:spPr>
        <p:txBody>
          <a:bodyPr wrap="square" lIns="121920" tIns="60960" rIns="121920" bIns="60960" anchor="b" anchorCtr="0">
            <a:spAutoFit/>
          </a:bodyPr>
          <a:lstStyle/>
          <a:p>
            <a:r>
              <a:rPr lang="en-US">
                <a:latin typeface="Verdana"/>
                <a:ea typeface="Verdana"/>
              </a:rPr>
              <a:t>PREM Survey Collection</a:t>
            </a:r>
            <a:endParaRPr lang="en-US"/>
          </a:p>
        </p:txBody>
      </p:sp>
      <p:sp>
        <p:nvSpPr>
          <p:cNvPr id="4" name="Text Placeholder 3"/>
          <p:cNvSpPr>
            <a:spLocks noGrp="1"/>
          </p:cNvSpPr>
          <p:nvPr>
            <p:ph type="body" sz="half" idx="2"/>
          </p:nvPr>
        </p:nvSpPr>
        <p:spPr>
          <a:xfrm>
            <a:off x="878942" y="1399246"/>
            <a:ext cx="10767801" cy="424495"/>
          </a:xfrm>
        </p:spPr>
        <p:txBody>
          <a:bodyPr lIns="121920" tIns="60960" rIns="121920" bIns="60960" anchor="t"/>
          <a:lstStyle/>
          <a:p>
            <a:r>
              <a:rPr lang="en-US">
                <a:latin typeface="Verdana"/>
                <a:ea typeface="Verdana"/>
              </a:rPr>
              <a:t>Percentages by Quarter</a:t>
            </a:r>
            <a:endParaRPr lang="en-US"/>
          </a:p>
        </p:txBody>
      </p:sp>
      <p:pic>
        <p:nvPicPr>
          <p:cNvPr id="8" name="Picture 8">
            <a:extLst>
              <a:ext uri="{FF2B5EF4-FFF2-40B4-BE49-F238E27FC236}">
                <a16:creationId xmlns:a16="http://schemas.microsoft.com/office/drawing/2014/main" id="{2677A9FF-083A-7113-37D5-749AD165002B}"/>
              </a:ext>
            </a:extLst>
          </p:cNvPr>
          <p:cNvPicPr>
            <a:picLocks noGrp="1" noChangeAspect="1"/>
          </p:cNvPicPr>
          <p:nvPr>
            <p:ph idx="1"/>
          </p:nvPr>
        </p:nvPicPr>
        <p:blipFill>
          <a:blip r:embed="rId2"/>
          <a:stretch>
            <a:fillRect/>
          </a:stretch>
        </p:blipFill>
        <p:spPr>
          <a:xfrm>
            <a:off x="1865861" y="1867673"/>
            <a:ext cx="8627491" cy="4064103"/>
          </a:xfrm>
        </p:spPr>
      </p:pic>
    </p:spTree>
    <p:extLst>
      <p:ext uri="{BB962C8B-B14F-4D97-AF65-F5344CB8AC3E}">
        <p14:creationId xmlns:p14="http://schemas.microsoft.com/office/powerpoint/2010/main" val="143092363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2361" y="496153"/>
            <a:ext cx="10767801" cy="787908"/>
          </a:xfrm>
        </p:spPr>
        <p:txBody>
          <a:bodyPr wrap="square" lIns="121920" tIns="60960" rIns="121920" bIns="60960" anchor="b" anchorCtr="0">
            <a:spAutoFit/>
          </a:bodyPr>
          <a:lstStyle/>
          <a:p>
            <a:r>
              <a:rPr lang="en-US">
                <a:latin typeface="Verdana"/>
                <a:ea typeface="Verdana"/>
              </a:rPr>
              <a:t>PREM Survey Collection</a:t>
            </a:r>
            <a:endParaRPr lang="en-US"/>
          </a:p>
        </p:txBody>
      </p:sp>
      <p:pic>
        <p:nvPicPr>
          <p:cNvPr id="5" name="Picture 5" descr="Graphical user interface&#10;&#10;Description automatically generated">
            <a:extLst>
              <a:ext uri="{FF2B5EF4-FFF2-40B4-BE49-F238E27FC236}">
                <a16:creationId xmlns:a16="http://schemas.microsoft.com/office/drawing/2014/main" id="{4A48C449-673F-A3B0-ADEC-FD8760335063}"/>
              </a:ext>
            </a:extLst>
          </p:cNvPr>
          <p:cNvPicPr>
            <a:picLocks noGrp="1" noChangeAspect="1"/>
          </p:cNvPicPr>
          <p:nvPr>
            <p:ph idx="1"/>
          </p:nvPr>
        </p:nvPicPr>
        <p:blipFill>
          <a:blip r:embed="rId2"/>
          <a:stretch>
            <a:fillRect/>
          </a:stretch>
        </p:blipFill>
        <p:spPr>
          <a:xfrm>
            <a:off x="2292890" y="1887762"/>
            <a:ext cx="7446049" cy="4185909"/>
          </a:xfrm>
        </p:spPr>
      </p:pic>
      <p:sp>
        <p:nvSpPr>
          <p:cNvPr id="4" name="Text Placeholder 3"/>
          <p:cNvSpPr>
            <a:spLocks noGrp="1"/>
          </p:cNvSpPr>
          <p:nvPr>
            <p:ph type="body" sz="half" idx="2"/>
          </p:nvPr>
        </p:nvSpPr>
        <p:spPr>
          <a:xfrm>
            <a:off x="923245" y="1292921"/>
            <a:ext cx="10767801" cy="424495"/>
          </a:xfrm>
        </p:spPr>
        <p:txBody>
          <a:bodyPr lIns="121920" tIns="60960" rIns="121920" bIns="60960" anchor="t"/>
          <a:lstStyle/>
          <a:p>
            <a:r>
              <a:rPr lang="en-US">
                <a:latin typeface="Verdana"/>
                <a:ea typeface="Verdana"/>
              </a:rPr>
              <a:t>Percentages by Month</a:t>
            </a:r>
            <a:endParaRPr lang="en-US"/>
          </a:p>
        </p:txBody>
      </p:sp>
    </p:spTree>
    <p:extLst>
      <p:ext uri="{BB962C8B-B14F-4D97-AF65-F5344CB8AC3E}">
        <p14:creationId xmlns:p14="http://schemas.microsoft.com/office/powerpoint/2010/main" val="139181968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F31E3-4976-DB5B-D69E-5FB4F8A8CBFE}"/>
              </a:ext>
            </a:extLst>
          </p:cNvPr>
          <p:cNvSpPr>
            <a:spLocks noGrp="1"/>
          </p:cNvSpPr>
          <p:nvPr>
            <p:ph type="title"/>
          </p:nvPr>
        </p:nvSpPr>
        <p:spPr>
          <a:xfrm>
            <a:off x="852361" y="832850"/>
            <a:ext cx="10767801" cy="787908"/>
          </a:xfrm>
        </p:spPr>
        <p:txBody>
          <a:bodyPr wrap="square" lIns="121920" tIns="60960" rIns="121920" bIns="60960" anchor="b" anchorCtr="0">
            <a:normAutofit/>
          </a:bodyPr>
          <a:lstStyle/>
          <a:p>
            <a:r>
              <a:rPr lang="en-US">
                <a:latin typeface="Verdana"/>
                <a:ea typeface="Verdana"/>
              </a:rPr>
              <a:t>Next steps &amp; Opportunities</a:t>
            </a:r>
            <a:endParaRPr lang="en-US"/>
          </a:p>
        </p:txBody>
      </p:sp>
      <p:graphicFrame>
        <p:nvGraphicFramePr>
          <p:cNvPr id="12" name="Text Placeholder 2">
            <a:extLst>
              <a:ext uri="{FF2B5EF4-FFF2-40B4-BE49-F238E27FC236}">
                <a16:creationId xmlns:a16="http://schemas.microsoft.com/office/drawing/2014/main" id="{D3C428F4-A0D0-65F4-47EC-0F0F565DD4A2}"/>
              </a:ext>
            </a:extLst>
          </p:cNvPr>
          <p:cNvGraphicFramePr/>
          <p:nvPr>
            <p:extLst>
              <p:ext uri="{D42A27DB-BD31-4B8C-83A1-F6EECF244321}">
                <p14:modId xmlns:p14="http://schemas.microsoft.com/office/powerpoint/2010/main" val="2077369997"/>
              </p:ext>
            </p:extLst>
          </p:nvPr>
        </p:nvGraphicFramePr>
        <p:xfrm>
          <a:off x="2076406" y="2149799"/>
          <a:ext cx="7142569" cy="36463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8078306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Questions?</a:t>
            </a:r>
          </a:p>
        </p:txBody>
      </p:sp>
    </p:spTree>
    <p:extLst>
      <p:ext uri="{BB962C8B-B14F-4D97-AF65-F5344CB8AC3E}">
        <p14:creationId xmlns:p14="http://schemas.microsoft.com/office/powerpoint/2010/main" val="329770142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12">
            <a:extLst>
              <a:ext uri="{FF2B5EF4-FFF2-40B4-BE49-F238E27FC236}">
                <a16:creationId xmlns:a16="http://schemas.microsoft.com/office/drawing/2014/main" id="{256B2C21-A230-48C0-8DF1-C46611373C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14">
            <a:extLst>
              <a:ext uri="{FF2B5EF4-FFF2-40B4-BE49-F238E27FC236}">
                <a16:creationId xmlns:a16="http://schemas.microsoft.com/office/drawing/2014/main" id="{3847E18C-932D-4C95-AABA-FEC7C9499A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6">
            <a:extLst>
              <a:ext uri="{FF2B5EF4-FFF2-40B4-BE49-F238E27FC236}">
                <a16:creationId xmlns:a16="http://schemas.microsoft.com/office/drawing/2014/main" id="{3150CB11-0C61-439E-910F-5787759E72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8">
            <a:extLst>
              <a:ext uri="{FF2B5EF4-FFF2-40B4-BE49-F238E27FC236}">
                <a16:creationId xmlns:a16="http://schemas.microsoft.com/office/drawing/2014/main" id="{43F8A58B-5155-44CE-A5FF-7647B47D0A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6" name="Rectangle 20">
            <a:extLst>
              <a:ext uri="{FF2B5EF4-FFF2-40B4-BE49-F238E27FC236}">
                <a16:creationId xmlns:a16="http://schemas.microsoft.com/office/drawing/2014/main" id="{443F2ACA-E6D6-4028-82DD-F03C262D5D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0575E09-73C5-FE0F-2AF1-6CD3FE57FDF6}"/>
              </a:ext>
            </a:extLst>
          </p:cNvPr>
          <p:cNvSpPr>
            <a:spLocks noGrp="1"/>
          </p:cNvSpPr>
          <p:nvPr>
            <p:ph type="title"/>
          </p:nvPr>
        </p:nvSpPr>
        <p:spPr>
          <a:xfrm>
            <a:off x="586478" y="1683756"/>
            <a:ext cx="3115265" cy="2396359"/>
          </a:xfrm>
        </p:spPr>
        <p:txBody>
          <a:bodyPr anchor="b">
            <a:normAutofit/>
          </a:bodyPr>
          <a:lstStyle/>
          <a:p>
            <a:pPr algn="r"/>
            <a:r>
              <a:rPr lang="en-US" sz="4000">
                <a:solidFill>
                  <a:srgbClr val="FFFFFF"/>
                </a:solidFill>
                <a:ea typeface="Lato Medium"/>
                <a:cs typeface="Lato Medium"/>
              </a:rPr>
              <a:t>Changes to SNAP Benefits</a:t>
            </a:r>
            <a:endParaRPr lang="en-US" sz="4000">
              <a:solidFill>
                <a:srgbClr val="FFFFFF"/>
              </a:solidFill>
            </a:endParaRPr>
          </a:p>
        </p:txBody>
      </p:sp>
      <p:sp>
        <p:nvSpPr>
          <p:cNvPr id="5" name="Footer Placeholder 4">
            <a:extLst>
              <a:ext uri="{FF2B5EF4-FFF2-40B4-BE49-F238E27FC236}">
                <a16:creationId xmlns:a16="http://schemas.microsoft.com/office/drawing/2014/main" id="{5FE1AE5D-E914-C5BF-E7D8-93B72CE75E50}"/>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4" name="Slide Number Placeholder 3">
            <a:extLst>
              <a:ext uri="{FF2B5EF4-FFF2-40B4-BE49-F238E27FC236}">
                <a16:creationId xmlns:a16="http://schemas.microsoft.com/office/drawing/2014/main" id="{43E140D8-1D81-59A6-6A06-37C2D2A576BC}"/>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dirty="0">
                <a:solidFill>
                  <a:schemeClr val="tx1">
                    <a:lumMod val="50000"/>
                    <a:lumOff val="50000"/>
                  </a:schemeClr>
                </a:solidFill>
              </a:rPr>
              <a:pPr>
                <a:spcAft>
                  <a:spcPts val="600"/>
                </a:spcAft>
              </a:pPr>
              <a:t>86</a:t>
            </a:fld>
            <a:endParaRPr lang="en-US" sz="1100" dirty="0">
              <a:solidFill>
                <a:schemeClr val="tx1">
                  <a:lumMod val="50000"/>
                  <a:lumOff val="50000"/>
                </a:schemeClr>
              </a:solidFill>
            </a:endParaRPr>
          </a:p>
        </p:txBody>
      </p:sp>
      <p:graphicFrame>
        <p:nvGraphicFramePr>
          <p:cNvPr id="18" name="Content Placeholder 2">
            <a:extLst>
              <a:ext uri="{FF2B5EF4-FFF2-40B4-BE49-F238E27FC236}">
                <a16:creationId xmlns:a16="http://schemas.microsoft.com/office/drawing/2014/main" id="{71067287-8AAD-9D2F-EDA1-455B9174E48C}"/>
              </a:ext>
            </a:extLst>
          </p:cNvPr>
          <p:cNvGraphicFramePr>
            <a:graphicFrameLocks noGrp="1"/>
          </p:cNvGraphicFramePr>
          <p:nvPr>
            <p:ph idx="1"/>
            <p:extLst>
              <p:ext uri="{D42A27DB-BD31-4B8C-83A1-F6EECF244321}">
                <p14:modId xmlns:p14="http://schemas.microsoft.com/office/powerpoint/2010/main" val="1895778002"/>
              </p:ext>
            </p:extLst>
          </p:nvPr>
        </p:nvGraphicFramePr>
        <p:xfrm>
          <a:off x="4905052" y="750440"/>
          <a:ext cx="6666833" cy="545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34926387"/>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Upcoming ILPQC BE calls</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0111056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477" y="277734"/>
            <a:ext cx="10972800" cy="1325563"/>
          </a:xfrm>
          <a:noFill/>
        </p:spPr>
        <p:txBody>
          <a:bodyPr/>
          <a:lstStyle/>
          <a:p>
            <a:r>
              <a:rPr lang="en-US">
                <a:ea typeface="Lato Medium"/>
                <a:cs typeface="Lato Medium"/>
              </a:rPr>
              <a:t>Upcoming BE Cal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458" name="Table 458">
            <a:extLst>
              <a:ext uri="{FF2B5EF4-FFF2-40B4-BE49-F238E27FC236}">
                <a16:creationId xmlns:a16="http://schemas.microsoft.com/office/drawing/2014/main" id="{6B8DD92D-FC61-B8CD-3116-E6D4BC770D0C}"/>
              </a:ext>
            </a:extLst>
          </p:cNvPr>
          <p:cNvGraphicFramePr>
            <a:graphicFrameLocks noGrp="1"/>
          </p:cNvGraphicFramePr>
          <p:nvPr>
            <p:extLst>
              <p:ext uri="{D42A27DB-BD31-4B8C-83A1-F6EECF244321}">
                <p14:modId xmlns:p14="http://schemas.microsoft.com/office/powerpoint/2010/main" val="4207620227"/>
              </p:ext>
            </p:extLst>
          </p:nvPr>
        </p:nvGraphicFramePr>
        <p:xfrm>
          <a:off x="300147" y="1453563"/>
          <a:ext cx="9634664" cy="4877412"/>
        </p:xfrm>
        <a:graphic>
          <a:graphicData uri="http://schemas.openxmlformats.org/drawingml/2006/table">
            <a:tbl>
              <a:tblPr firstRow="1" bandRow="1">
                <a:tableStyleId>{F5AB1C69-6EDB-4FF4-983F-18BD219EF322}</a:tableStyleId>
              </a:tblPr>
              <a:tblGrid>
                <a:gridCol w="2898836">
                  <a:extLst>
                    <a:ext uri="{9D8B030D-6E8A-4147-A177-3AD203B41FA5}">
                      <a16:colId xmlns:a16="http://schemas.microsoft.com/office/drawing/2014/main" val="2337264793"/>
                    </a:ext>
                  </a:extLst>
                </a:gridCol>
                <a:gridCol w="6735828">
                  <a:extLst>
                    <a:ext uri="{9D8B030D-6E8A-4147-A177-3AD203B41FA5}">
                      <a16:colId xmlns:a16="http://schemas.microsoft.com/office/drawing/2014/main" val="1898119252"/>
                    </a:ext>
                  </a:extLst>
                </a:gridCol>
              </a:tblGrid>
              <a:tr h="486064">
                <a:tc>
                  <a:txBody>
                    <a:bodyPr/>
                    <a:lstStyle/>
                    <a:p>
                      <a:r>
                        <a:rPr lang="en-US" sz="2400" u="sng" dirty="0">
                          <a:solidFill>
                            <a:srgbClr val="000000"/>
                          </a:solidFill>
                        </a:rPr>
                        <a:t>Event </a:t>
                      </a:r>
                    </a:p>
                  </a:txBody>
                  <a:tcPr/>
                </a:tc>
                <a:tc>
                  <a:txBody>
                    <a:bodyPr/>
                    <a:lstStyle/>
                    <a:p>
                      <a:r>
                        <a:rPr lang="en-US" sz="2400" u="sng" dirty="0">
                          <a:solidFill>
                            <a:srgbClr val="000000"/>
                          </a:solidFill>
                        </a:rPr>
                        <a:t>Day/Time </a:t>
                      </a:r>
                    </a:p>
                  </a:txBody>
                  <a:tcPr/>
                </a:tc>
                <a:extLst>
                  <a:ext uri="{0D108BD9-81ED-4DB2-BD59-A6C34878D82A}">
                    <a16:rowId xmlns:a16="http://schemas.microsoft.com/office/drawing/2014/main" val="3322244632"/>
                  </a:ext>
                </a:extLst>
              </a:tr>
              <a:tr h="1927498">
                <a:tc>
                  <a:txBody>
                    <a:bodyPr/>
                    <a:lstStyle/>
                    <a:p>
                      <a:pPr marL="0" marR="0" lvl="0" indent="0" algn="l">
                        <a:lnSpc>
                          <a:spcPct val="100000"/>
                        </a:lnSpc>
                        <a:spcBef>
                          <a:spcPts val="0"/>
                        </a:spcBef>
                        <a:spcAft>
                          <a:spcPts val="0"/>
                        </a:spcAft>
                        <a:buClr>
                          <a:srgbClr val="444C55"/>
                        </a:buClr>
                        <a:buNone/>
                      </a:pPr>
                      <a:r>
                        <a:rPr lang="en-US" sz="2400" b="1" i="0" u="none" strike="noStrike" noProof="0" dirty="0">
                          <a:solidFill>
                            <a:schemeClr val="tx1">
                              <a:lumMod val="50000"/>
                            </a:schemeClr>
                          </a:solidFill>
                          <a:latin typeface="Calibri"/>
                        </a:rPr>
                        <a:t>Face-to-Face</a:t>
                      </a:r>
                    </a:p>
                  </a:txBody>
                  <a:tcPr/>
                </a:tc>
                <a:tc>
                  <a:txBody>
                    <a:bodyPr/>
                    <a:lstStyle/>
                    <a:p>
                      <a:pPr lvl="0" algn="l">
                        <a:buNone/>
                      </a:pPr>
                      <a:r>
                        <a:rPr lang="en-US" sz="2200" b="1" i="0" u="none" strike="noStrike" noProof="0" dirty="0">
                          <a:latin typeface="Calibri"/>
                        </a:rPr>
                        <a:t>May 24-25, See you at Face-to-Face in Springfield, IL!</a:t>
                      </a:r>
                    </a:p>
                    <a:p>
                      <a:pPr lvl="0" algn="l">
                        <a:buNone/>
                      </a:pPr>
                      <a:endParaRPr lang="en-US" sz="2200" b="1" i="0" u="none" strike="noStrike" noProof="0" dirty="0">
                        <a:latin typeface="Calibri"/>
                      </a:endParaRPr>
                    </a:p>
                    <a:p>
                      <a:pPr lvl="0" algn="l">
                        <a:buNone/>
                      </a:pPr>
                      <a:r>
                        <a:rPr lang="en-US" sz="2200" b="0" i="0" u="none" strike="noStrike" noProof="0" dirty="0">
                          <a:hlinkClick r:id="rId3"/>
                        </a:rPr>
                        <a:t>https://ilpqc.org/ilpqc-2023-ob-neonatal-face-to-face-meetings/</a:t>
                      </a:r>
                      <a:r>
                        <a:rPr lang="en-US" sz="2200" b="0" i="0" u="none" strike="noStrike" noProof="0" dirty="0"/>
                        <a:t> </a:t>
                      </a:r>
                      <a:endParaRPr lang="en-US" dirty="0"/>
                    </a:p>
                  </a:txBody>
                  <a:tcPr/>
                </a:tc>
                <a:extLst>
                  <a:ext uri="{0D108BD9-81ED-4DB2-BD59-A6C34878D82A}">
                    <a16:rowId xmlns:a16="http://schemas.microsoft.com/office/drawing/2014/main" val="1122933543"/>
                  </a:ext>
                </a:extLst>
              </a:tr>
              <a:tr h="2463850">
                <a:tc>
                  <a:txBody>
                    <a:bodyPr/>
                    <a:lstStyle/>
                    <a:p>
                      <a:pPr marL="0" marR="0" lvl="0" indent="0" algn="l">
                        <a:lnSpc>
                          <a:spcPct val="100000"/>
                        </a:lnSpc>
                        <a:spcBef>
                          <a:spcPts val="0"/>
                        </a:spcBef>
                        <a:spcAft>
                          <a:spcPts val="0"/>
                        </a:spcAft>
                        <a:buNone/>
                      </a:pPr>
                      <a:r>
                        <a:rPr lang="en-US" sz="2400" b="1" i="0" u="none" strike="noStrike" noProof="0" dirty="0">
                          <a:solidFill>
                            <a:schemeClr val="tx1">
                              <a:lumMod val="50000"/>
                            </a:schemeClr>
                          </a:solidFill>
                          <a:latin typeface="Calibri"/>
                        </a:rPr>
                        <a:t>BE Teams Call </a:t>
                      </a:r>
                      <a:endParaRPr lang="en-US" sz="2400" b="0" i="0" u="none" strike="noStrike" noProof="0" dirty="0"/>
                    </a:p>
                    <a:p>
                      <a:pPr marL="0" marR="0" lvl="0" indent="0" algn="l">
                        <a:lnSpc>
                          <a:spcPct val="100000"/>
                        </a:lnSpc>
                        <a:spcBef>
                          <a:spcPts val="0"/>
                        </a:spcBef>
                        <a:spcAft>
                          <a:spcPts val="0"/>
                        </a:spcAft>
                        <a:buNone/>
                      </a:pPr>
                      <a:r>
                        <a:rPr lang="en-US" sz="2400" b="0" i="0" u="none" strike="noStrike" noProof="0" dirty="0">
                          <a:solidFill>
                            <a:schemeClr val="tx1">
                              <a:lumMod val="50000"/>
                            </a:schemeClr>
                          </a:solidFill>
                          <a:latin typeface="Calibri"/>
                        </a:rPr>
                        <a:t>(3rd Monday of the Month)</a:t>
                      </a:r>
                      <a:endParaRPr lang="en-US" dirty="0"/>
                    </a:p>
                  </a:txBody>
                  <a:tcPr/>
                </a:tc>
                <a:tc>
                  <a:txBody>
                    <a:bodyPr/>
                    <a:lstStyle/>
                    <a:p>
                      <a:pPr lvl="0" algn="l">
                        <a:buNone/>
                      </a:pPr>
                      <a:endParaRPr lang="en-US" sz="2200" b="1" i="0" u="none" strike="noStrike" noProof="0" dirty="0">
                        <a:latin typeface="Calibri"/>
                      </a:endParaRPr>
                    </a:p>
                    <a:p>
                      <a:pPr lvl="0" algn="l">
                        <a:buNone/>
                      </a:pPr>
                      <a:r>
                        <a:rPr lang="en-US" sz="2200" b="1" i="0" u="none" strike="noStrike" noProof="0" dirty="0">
                          <a:latin typeface="Calibri"/>
                        </a:rPr>
                        <a:t>No May Call – See you at Face-to-Face!</a:t>
                      </a:r>
                    </a:p>
                    <a:p>
                      <a:pPr lvl="0" algn="l">
                        <a:buNone/>
                      </a:pPr>
                      <a:endParaRPr lang="en-US" sz="2200" b="1" i="0" u="none" strike="noStrike" noProof="0" dirty="0">
                        <a:latin typeface="Calibri"/>
                      </a:endParaRPr>
                    </a:p>
                    <a:p>
                      <a:pPr lvl="0" algn="l">
                        <a:buNone/>
                      </a:pPr>
                      <a:r>
                        <a:rPr lang="en-US" sz="2200" b="1" i="0" u="sng" strike="noStrike" noProof="0" dirty="0">
                          <a:latin typeface="Calibri"/>
                        </a:rPr>
                        <a:t>Next Call: Monday, June 19th 12-1pm CT</a:t>
                      </a:r>
                      <a:endParaRPr lang="en-US" u="sng" dirty="0"/>
                    </a:p>
                  </a:txBody>
                  <a:tcPr/>
                </a:tc>
                <a:extLst>
                  <a:ext uri="{0D108BD9-81ED-4DB2-BD59-A6C34878D82A}">
                    <a16:rowId xmlns:a16="http://schemas.microsoft.com/office/drawing/2014/main" val="920408321"/>
                  </a:ext>
                </a:extLst>
              </a:tr>
            </a:tbl>
          </a:graphicData>
        </a:graphic>
      </p:graphicFrame>
      <p:pic>
        <p:nvPicPr>
          <p:cNvPr id="479" name="Graphic 479" descr="Daily calendar with solid fill">
            <a:extLst>
              <a:ext uri="{FF2B5EF4-FFF2-40B4-BE49-F238E27FC236}">
                <a16:creationId xmlns:a16="http://schemas.microsoft.com/office/drawing/2014/main" id="{843CD5E3-5569-66AE-9C08-081E41E8E29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657036" y="2684206"/>
            <a:ext cx="2624701" cy="2599103"/>
          </a:xfrm>
          <a:prstGeom prst="rect">
            <a:avLst/>
          </a:prstGeom>
        </p:spPr>
      </p:pic>
    </p:spTree>
    <p:extLst>
      <p:ext uri="{BB962C8B-B14F-4D97-AF65-F5344CB8AC3E}">
        <p14:creationId xmlns:p14="http://schemas.microsoft.com/office/powerpoint/2010/main" val="50273605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86D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Text&#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3310467" y="643467"/>
            <a:ext cx="5571066"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89</a:t>
            </a:fld>
            <a:endParaRPr lang="en-US">
              <a:solidFill>
                <a:srgbClr val="FFFFFF"/>
              </a:solidFill>
            </a:endParaRPr>
          </a:p>
        </p:txBody>
      </p:sp>
      <p:pic>
        <p:nvPicPr>
          <p:cNvPr id="2" name="Picture 2">
            <a:extLst>
              <a:ext uri="{FF2B5EF4-FFF2-40B4-BE49-F238E27FC236}">
                <a16:creationId xmlns:a16="http://schemas.microsoft.com/office/drawing/2014/main" id="{DC8C5309-F206-DC54-4080-F19AEF8416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4445" y="5530245"/>
            <a:ext cx="1871131" cy="847357"/>
          </a:xfrm>
          <a:prstGeom prst="rect">
            <a:avLst/>
          </a:prstGeom>
        </p:spPr>
      </p:pic>
    </p:spTree>
    <p:extLst>
      <p:ext uri="{BB962C8B-B14F-4D97-AF65-F5344CB8AC3E}">
        <p14:creationId xmlns:p14="http://schemas.microsoft.com/office/powerpoint/2010/main" val="2989085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26A67-4D5B-7E61-4D6D-61AAF5EB5882}"/>
              </a:ext>
            </a:extLst>
          </p:cNvPr>
          <p:cNvSpPr>
            <a:spLocks noGrp="1"/>
          </p:cNvSpPr>
          <p:nvPr>
            <p:ph type="title"/>
          </p:nvPr>
        </p:nvSpPr>
        <p:spPr>
          <a:xfrm>
            <a:off x="347272" y="177748"/>
            <a:ext cx="10972800" cy="1325563"/>
          </a:xfrm>
        </p:spPr>
        <p:txBody>
          <a:bodyPr/>
          <a:lstStyle/>
          <a:p>
            <a:r>
              <a:rPr lang="en-US">
                <a:ea typeface="Lato Medium"/>
                <a:cs typeface="Lato Medium"/>
              </a:rPr>
              <a:t>2023 Face to Face: Let's Get Ready! </a:t>
            </a:r>
            <a:endParaRPr lang="en-US"/>
          </a:p>
        </p:txBody>
      </p:sp>
      <p:sp>
        <p:nvSpPr>
          <p:cNvPr id="4" name="Slide Number Placeholder 3">
            <a:extLst>
              <a:ext uri="{FF2B5EF4-FFF2-40B4-BE49-F238E27FC236}">
                <a16:creationId xmlns:a16="http://schemas.microsoft.com/office/drawing/2014/main" id="{91D1630E-9E80-0990-5B14-135FAC430B9B}"/>
              </a:ext>
            </a:extLst>
          </p:cNvPr>
          <p:cNvSpPr>
            <a:spLocks noGrp="1"/>
          </p:cNvSpPr>
          <p:nvPr>
            <p:ph type="sldNum" sz="quarter" idx="10"/>
          </p:nvPr>
        </p:nvSpPr>
        <p:spPr/>
        <p:txBody>
          <a:bodyPr/>
          <a:lstStyle/>
          <a:p>
            <a:fld id="{97033E4B-E3EB-3D46-B2D8-3159663620FA}" type="slidenum">
              <a:rPr lang="en-US" smtClean="0"/>
              <a:pPr/>
              <a:t>9</a:t>
            </a:fld>
            <a:endParaRPr lang="en-US"/>
          </a:p>
        </p:txBody>
      </p:sp>
      <p:graphicFrame>
        <p:nvGraphicFramePr>
          <p:cNvPr id="3" name="Diagram 4">
            <a:extLst>
              <a:ext uri="{FF2B5EF4-FFF2-40B4-BE49-F238E27FC236}">
                <a16:creationId xmlns:a16="http://schemas.microsoft.com/office/drawing/2014/main" id="{CE3144B1-63D5-3A35-936E-61EA985FC06C}"/>
              </a:ext>
            </a:extLst>
          </p:cNvPr>
          <p:cNvGraphicFramePr>
            <a:graphicFrameLocks noGrp="1"/>
          </p:cNvGraphicFramePr>
          <p:nvPr>
            <p:ph idx="1"/>
            <p:extLst>
              <p:ext uri="{D42A27DB-BD31-4B8C-83A1-F6EECF244321}">
                <p14:modId xmlns:p14="http://schemas.microsoft.com/office/powerpoint/2010/main" val="3344182569"/>
              </p:ext>
            </p:extLst>
          </p:nvPr>
        </p:nvGraphicFramePr>
        <p:xfrm>
          <a:off x="49770" y="958490"/>
          <a:ext cx="12368548" cy="5405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Explosion: 8 Points 12">
            <a:extLst>
              <a:ext uri="{FF2B5EF4-FFF2-40B4-BE49-F238E27FC236}">
                <a16:creationId xmlns:a16="http://schemas.microsoft.com/office/drawing/2014/main" id="{4E5C9945-CED1-DE11-01CE-2B8D475ED1DB}"/>
              </a:ext>
            </a:extLst>
          </p:cNvPr>
          <p:cNvSpPr/>
          <p:nvPr/>
        </p:nvSpPr>
        <p:spPr>
          <a:xfrm>
            <a:off x="5472929" y="4484758"/>
            <a:ext cx="2769260" cy="1967947"/>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All Data due </a:t>
            </a:r>
          </a:p>
          <a:p>
            <a:pPr algn="ctr"/>
            <a:r>
              <a:rPr lang="en-US" b="1">
                <a:ea typeface="Calibri"/>
                <a:cs typeface="Calibri"/>
              </a:rPr>
              <a:t>April 21st!</a:t>
            </a:r>
          </a:p>
        </p:txBody>
      </p:sp>
    </p:spTree>
    <p:extLst>
      <p:ext uri="{BB962C8B-B14F-4D97-AF65-F5344CB8AC3E}">
        <p14:creationId xmlns:p14="http://schemas.microsoft.com/office/powerpoint/2010/main" val="30627341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NICHQ PowerPoint Template">
  <a:themeElements>
    <a:clrScheme name="NICHQ">
      <a:dk1>
        <a:srgbClr val="262626"/>
      </a:dk1>
      <a:lt1>
        <a:srgbClr val="FFFFFF"/>
      </a:lt1>
      <a:dk2>
        <a:srgbClr val="5AB7B2"/>
      </a:dk2>
      <a:lt2>
        <a:srgbClr val="E7E6E6"/>
      </a:lt2>
      <a:accent1>
        <a:srgbClr val="003DA6"/>
      </a:accent1>
      <a:accent2>
        <a:srgbClr val="93B7BB"/>
      </a:accent2>
      <a:accent3>
        <a:srgbClr val="A4D55D"/>
      </a:accent3>
      <a:accent4>
        <a:srgbClr val="BDC492"/>
      </a:accent4>
      <a:accent5>
        <a:srgbClr val="F5BD47"/>
      </a:accent5>
      <a:accent6>
        <a:srgbClr val="FED771"/>
      </a:accent6>
      <a:hlink>
        <a:srgbClr val="FF671B"/>
      </a:hlink>
      <a:folHlink>
        <a:srgbClr val="833C0B"/>
      </a:folHlink>
    </a:clrScheme>
    <a:fontScheme name="NICHQ">
      <a:majorFont>
        <a:latin typeface="Gill Sans MT"/>
        <a:ea typeface=""/>
        <a:cs typeface=""/>
      </a:majorFont>
      <a:minorFont>
        <a:latin typeface="Trebuchet MS"/>
        <a:ea typeface=""/>
        <a:cs typeface=""/>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NICHQ PowerPoint Template 2014" id="{068AF77A-B26A-459F-9A4C-4E191996FD9A}" vid="{295FAE97-A4A7-4788-9C9B-820FC5CFD707}"/>
    </a:ext>
  </a:extLst>
</a:theme>
</file>

<file path=ppt/theme/theme12.xml><?xml version="1.0" encoding="utf-8"?>
<a:theme xmlns:a="http://schemas.openxmlformats.org/drawingml/2006/main" name="Dividend">
  <a:themeElements>
    <a:clrScheme name="Dividend">
      <a:dk1>
        <a:sysClr val="windowText" lastClr="000000"/>
      </a:dk1>
      <a:lt1>
        <a:sysClr val="window" lastClr="FFFFFF"/>
      </a:lt1>
      <a:dk2>
        <a:srgbClr val="3D3D3D"/>
      </a:dk2>
      <a:lt2>
        <a:srgbClr val="EBEBEB"/>
      </a:lt2>
      <a:accent1>
        <a:srgbClr val="4D1434"/>
      </a:accent1>
      <a:accent2>
        <a:srgbClr val="903163"/>
      </a:accent2>
      <a:accent3>
        <a:srgbClr val="B2324B"/>
      </a:accent3>
      <a:accent4>
        <a:srgbClr val="969FA7"/>
      </a:accent4>
      <a:accent5>
        <a:srgbClr val="66B1CE"/>
      </a:accent5>
      <a:accent6>
        <a:srgbClr val="40619D"/>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13.xml><?xml version="1.0" encoding="utf-8"?>
<a:theme xmlns:a="http://schemas.openxmlformats.org/drawingml/2006/main" name="1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4_Content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Cover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20.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UW Health Theme">
  <a:themeElements>
    <a:clrScheme name="UW Health 1">
      <a:dk1>
        <a:srgbClr val="191919"/>
      </a:dk1>
      <a:lt1>
        <a:srgbClr val="FFFFFF"/>
      </a:lt1>
      <a:dk2>
        <a:srgbClr val="495965"/>
      </a:dk2>
      <a:lt2>
        <a:srgbClr val="EDF5F7"/>
      </a:lt2>
      <a:accent1>
        <a:srgbClr val="055EBA"/>
      </a:accent1>
      <a:accent2>
        <a:srgbClr val="31C4F0"/>
      </a:accent2>
      <a:accent3>
        <a:srgbClr val="22C4BF"/>
      </a:accent3>
      <a:accent4>
        <a:srgbClr val="EF2842"/>
      </a:accent4>
      <a:accent5>
        <a:srgbClr val="C5050C"/>
      </a:accent5>
      <a:accent6>
        <a:srgbClr val="A6AFB2"/>
      </a:accent6>
      <a:hlink>
        <a:srgbClr val="001964"/>
      </a:hlink>
      <a:folHlink>
        <a:srgbClr val="001964"/>
      </a:folHlink>
    </a:clrScheme>
    <a:fontScheme name="UW Health">
      <a:majorFont>
        <a:latin typeface="Spectral ExtraBold"/>
        <a:ea typeface=""/>
        <a:cs typeface=""/>
      </a:majorFont>
      <a:minorFont>
        <a:latin typeface="Metropoli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ormAutofit/>
      </a:bodyPr>
      <a:lstStyle>
        <a:defPPr marL="571500" marR="0" indent="-571500" algn="l" defTabSz="914400" rtl="0" eaLnBrk="1" fontAlgn="ctr" latinLnBrk="0" hangingPunct="1">
          <a:lnSpc>
            <a:spcPct val="112000"/>
          </a:lnSpc>
          <a:spcBef>
            <a:spcPts val="0"/>
          </a:spcBef>
          <a:spcAft>
            <a:spcPts val="600"/>
          </a:spcAft>
          <a:buClr>
            <a:srgbClr val="055EBA"/>
          </a:buClr>
          <a:buSzPct val="120000"/>
          <a:buFont typeface="System Font Regular"/>
          <a:buChar char="○"/>
          <a:tabLst/>
          <a:defRPr kumimoji="0" sz="3600" b="1" i="0" u="none" strike="noStrike" kern="1200" cap="none" spc="0" normalizeH="0" baseline="0" noProof="0" dirty="0" smtClean="0">
            <a:ln>
              <a:noFill/>
            </a:ln>
            <a:solidFill>
              <a:srgbClr val="191919">
                <a:lumMod val="90000"/>
                <a:lumOff val="10000"/>
              </a:srgbClr>
            </a:solidFill>
            <a:effectLst/>
            <a:uLnTx/>
            <a:uFillTx/>
            <a:latin typeface="Metropolis Light" pitchFamily="2" charset="77"/>
            <a:ea typeface="+mn-ea"/>
            <a:cs typeface="+mn-cs"/>
          </a:defRPr>
        </a:defPPr>
      </a:lstStyle>
    </a:txDef>
  </a:objectDefaults>
  <a:extraClrSchemeLst/>
  <a:extLst>
    <a:ext uri="{05A4C25C-085E-4340-85A3-A5531E510DB2}">
      <thm15:themeFamily xmlns:thm15="http://schemas.microsoft.com/office/thememl/2012/main" name="PA-458768-20 uwhealth.potx" id="{85534CA5-12C9-40B3-B488-B70B3BC8B9BB}" vid="{FDA7F7C9-121D-430D-A8BE-AF49E8ABE5C8}"/>
    </a:ext>
  </a:extLst>
</a:theme>
</file>

<file path=ppt/theme/theme22.xml><?xml version="1.0" encoding="utf-8"?>
<a:theme xmlns:a="http://schemas.openxmlformats.org/drawingml/2006/main" name="AAH Theme">
  <a:themeElements>
    <a:clrScheme name="AAH Brand Colors 2019">
      <a:dk1>
        <a:srgbClr val="000000"/>
      </a:dk1>
      <a:lt1>
        <a:srgbClr val="FFFFFF"/>
      </a:lt1>
      <a:dk2>
        <a:srgbClr val="00304B"/>
      </a:dk2>
      <a:lt2>
        <a:srgbClr val="A3A8AB"/>
      </a:lt2>
      <a:accent1>
        <a:srgbClr val="4A1852"/>
      </a:accent1>
      <a:accent2>
        <a:srgbClr val="00A5D5"/>
      </a:accent2>
      <a:accent3>
        <a:srgbClr val="004239"/>
      </a:accent3>
      <a:accent4>
        <a:srgbClr val="A1CB67"/>
      </a:accent4>
      <a:accent5>
        <a:srgbClr val="ED9F33"/>
      </a:accent5>
      <a:accent6>
        <a:srgbClr val="B43984"/>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H Theme" id="{AC0099BC-DA7D-2145-956E-AA7DB1F3AC17}" vid="{BE8CB45D-4617-B54D-96AF-9536AE24182E}"/>
    </a:ext>
  </a:extLst>
</a:theme>
</file>

<file path=ppt/theme/theme23.xml><?xml version="1.0" encoding="utf-8"?>
<a:theme xmlns:a="http://schemas.openxmlformats.org/drawingml/2006/main" name="5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6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Cambria">
      <a:maj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5.xml><?xml version="1.0" encoding="utf-8"?>
<a:theme xmlns:a="http://schemas.openxmlformats.org/drawingml/2006/main" name="1_Content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NYU Langone Health Theme 1 Purple Cover White Interior">
  <a:themeElements>
    <a:clrScheme name="NYU Langone Vibrant Office Colors">
      <a:dk1>
        <a:srgbClr val="53565A"/>
      </a:dk1>
      <a:lt1>
        <a:srgbClr val="FFFFFF"/>
      </a:lt1>
      <a:dk2>
        <a:srgbClr val="580F8B"/>
      </a:dk2>
      <a:lt2>
        <a:srgbClr val="D9D9D6"/>
      </a:lt2>
      <a:accent1>
        <a:srgbClr val="580F8B"/>
      </a:accent1>
      <a:accent2>
        <a:srgbClr val="E0A526"/>
      </a:accent2>
      <a:accent3>
        <a:srgbClr val="489FDF"/>
      </a:accent3>
      <a:accent4>
        <a:srgbClr val="E5554F"/>
      </a:accent4>
      <a:accent5>
        <a:srgbClr val="40C1AC"/>
      </a:accent5>
      <a:accent6>
        <a:srgbClr val="9BB8D3"/>
      </a:accent6>
      <a:hlink>
        <a:srgbClr val="0000FF"/>
      </a:hlink>
      <a:folHlink>
        <a:srgbClr val="00EBFF"/>
      </a:folHlink>
    </a:clrScheme>
    <a:fontScheme name="NYU Langone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ln>
              <a:noFill/>
            </a:ln>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defPPr>
      </a:lstStyle>
    </a:txDef>
  </a:objectDefaults>
  <a:extraClrSchemeLst/>
  <a:extLst>
    <a:ext uri="{05A4C25C-085E-4340-85A3-A5531E510DB2}">
      <thm15:themeFamily xmlns:thm15="http://schemas.microsoft.com/office/thememl/2012/main" name="Presentation58" id="{05F71BDD-DCFE-5142-A8C0-6014CCE58A16}" vid="{2ABED87A-4BFA-CB40-96BB-6DC59431B5AF}"/>
    </a:ext>
  </a:extLst>
</a:theme>
</file>

<file path=ppt/theme/theme9.xml><?xml version="1.0" encoding="utf-8"?>
<a:theme xmlns:a="http://schemas.openxmlformats.org/drawingml/2006/main" name="3_Section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763</TotalTime>
  <Words>4747</Words>
  <Application>Microsoft Office PowerPoint</Application>
  <PresentationFormat>Widescreen</PresentationFormat>
  <Paragraphs>709</Paragraphs>
  <Slides>89</Slides>
  <Notes>22</Notes>
  <HiddenSlides>0</HiddenSlides>
  <MMClips>0</MMClips>
  <ScaleCrop>false</ScaleCrop>
  <HeadingPairs>
    <vt:vector size="8" baseType="variant">
      <vt:variant>
        <vt:lpstr>Fonts Used</vt:lpstr>
      </vt:variant>
      <vt:variant>
        <vt:i4>19</vt:i4>
      </vt:variant>
      <vt:variant>
        <vt:lpstr>Theme</vt:lpstr>
      </vt:variant>
      <vt:variant>
        <vt:i4>24</vt:i4>
      </vt:variant>
      <vt:variant>
        <vt:lpstr>Embedded OLE Servers</vt:lpstr>
      </vt:variant>
      <vt:variant>
        <vt:i4>1</vt:i4>
      </vt:variant>
      <vt:variant>
        <vt:lpstr>Slide Titles</vt:lpstr>
      </vt:variant>
      <vt:variant>
        <vt:i4>89</vt:i4>
      </vt:variant>
    </vt:vector>
  </HeadingPairs>
  <TitlesOfParts>
    <vt:vector size="133" baseType="lpstr">
      <vt:lpstr>Arial</vt:lpstr>
      <vt:lpstr>Arial Black</vt:lpstr>
      <vt:lpstr>Calibri</vt:lpstr>
      <vt:lpstr>Calibri Light</vt:lpstr>
      <vt:lpstr>Cambria</vt:lpstr>
      <vt:lpstr>Corbel</vt:lpstr>
      <vt:lpstr>Courier New</vt:lpstr>
      <vt:lpstr>Gill Sans MT</vt:lpstr>
      <vt:lpstr>Helvetica Neue Medium</vt:lpstr>
      <vt:lpstr>Lato</vt:lpstr>
      <vt:lpstr>Metropolis</vt:lpstr>
      <vt:lpstr>Metropolis Extra Light</vt:lpstr>
      <vt:lpstr>Metropolis Light</vt:lpstr>
      <vt:lpstr>Spectral ExtraBold</vt:lpstr>
      <vt:lpstr>System Font Regular</vt:lpstr>
      <vt:lpstr>Trebuchet MS</vt:lpstr>
      <vt:lpstr>Verdana</vt:lpstr>
      <vt:lpstr>Wingdings</vt:lpstr>
      <vt:lpstr>Wingdings 2</vt:lpstr>
      <vt:lpstr>3_Office Theme</vt:lpstr>
      <vt:lpstr>2_Office Theme</vt:lpstr>
      <vt:lpstr>3_Custom Design</vt:lpstr>
      <vt:lpstr>Retrospect</vt:lpstr>
      <vt:lpstr>1_Content Master</vt:lpstr>
      <vt:lpstr>1_Office Theme</vt:lpstr>
      <vt:lpstr>2_Custom Design</vt:lpstr>
      <vt:lpstr>NYU Langone Health Theme 1 Purple Cover White Interior</vt:lpstr>
      <vt:lpstr>3_Section Master</vt:lpstr>
      <vt:lpstr>2_Office Theme</vt:lpstr>
      <vt:lpstr>NICHQ PowerPoint Template</vt:lpstr>
      <vt:lpstr>Dividend</vt:lpstr>
      <vt:lpstr>14_Custom Design</vt:lpstr>
      <vt:lpstr>7_Custom Design</vt:lpstr>
      <vt:lpstr>8_Custom Design</vt:lpstr>
      <vt:lpstr>9_Custom Design</vt:lpstr>
      <vt:lpstr>10_Custom Design</vt:lpstr>
      <vt:lpstr>4_Content Master</vt:lpstr>
      <vt:lpstr>Cover Master</vt:lpstr>
      <vt:lpstr>4_Office Theme</vt:lpstr>
      <vt:lpstr>UW Health Theme</vt:lpstr>
      <vt:lpstr>AAH Theme</vt:lpstr>
      <vt:lpstr>5_Office Theme</vt:lpstr>
      <vt:lpstr>6_Office Theme</vt:lpstr>
      <vt:lpstr>think-cell Slide</vt:lpstr>
      <vt:lpstr>BE Teams Call: Using PREM Survey Data Feedback to Improve Respectful Care </vt:lpstr>
      <vt:lpstr>PowerPoint Presentation</vt:lpstr>
      <vt:lpstr>Toxic: A Black Woman's Story FREE Screening TODAY!</vt:lpstr>
      <vt:lpstr>Host toolkit for Aftershock viewing with your clinical team </vt:lpstr>
      <vt:lpstr>Watch Birthing Justice: FREE on PBS!</vt:lpstr>
      <vt:lpstr>Call Overview</vt:lpstr>
      <vt:lpstr>PowerPoint Presentation</vt:lpstr>
      <vt:lpstr>ILPQC F2F Agenda:  Wednesday, May 24th</vt:lpstr>
      <vt:lpstr>2023 Face to Face: Let's Get Ready! </vt:lpstr>
      <vt:lpstr>PowerPoint Presentation</vt:lpstr>
      <vt:lpstr>BE Award Criteria for F2F</vt:lpstr>
      <vt:lpstr>Goal for every team to achieve BE QI Excellence by end of 2023</vt:lpstr>
      <vt:lpstr>Birth Equity Data Review</vt:lpstr>
      <vt:lpstr>PowerPoint Presentation</vt:lpstr>
      <vt:lpstr>Structure Measures: Implementing Systems Changes</vt:lpstr>
      <vt:lpstr>Structure Measures: Implementing Systems Changes</vt:lpstr>
      <vt:lpstr>Structure Measures: Implementing Systems Changes</vt:lpstr>
      <vt:lpstr>Structure Measures: Implementing Systems Changes</vt:lpstr>
      <vt:lpstr>ILPQC Hospital Team Data Submission  (86 Teams Total)</vt:lpstr>
      <vt:lpstr>PREM Data Breakdown</vt:lpstr>
      <vt:lpstr>PREM Survey Completion</vt:lpstr>
      <vt:lpstr>PREM Survey Completion</vt:lpstr>
      <vt:lpstr>Summary of PREM Survey Completion: Demographic Breakdown </vt:lpstr>
      <vt:lpstr>Summary of PREM data: By Race/Ethnicity</vt:lpstr>
      <vt:lpstr>Summary of PREM data: Insurance Status</vt:lpstr>
      <vt:lpstr>Respectful Care Breakfast Check-In</vt:lpstr>
      <vt:lpstr>Thinking Creatively on Engagement!</vt:lpstr>
      <vt:lpstr>Planning your Respectful Care Breakfast  </vt:lpstr>
      <vt:lpstr>Respectful Care Breakfast Planning Resource</vt:lpstr>
      <vt:lpstr>Post-Event Survey</vt:lpstr>
      <vt:lpstr>Respectful Care Practices and PREM</vt:lpstr>
      <vt:lpstr>PowerPoint Presentation</vt:lpstr>
      <vt:lpstr>Respectful Care Practices We commit to… </vt:lpstr>
      <vt:lpstr>How do PREM survey questions align with the 13 Respectful Care Practices? Here are a Few Examples!</vt:lpstr>
      <vt:lpstr>Resources for Active Implementation  of  Respectful Care Practices</vt:lpstr>
      <vt:lpstr>Active Implementation of Respectful Care</vt:lpstr>
      <vt:lpstr> Resources for Active Listening</vt:lpstr>
      <vt:lpstr>AWHONN SBAR for Equitable Patient Care Resource</vt:lpstr>
      <vt:lpstr>ILPQC-Sponsored – FREE AWHONN Resource for your Respectful Care work:  Respectful Maternity Care Guideline  (RMC-EBG) &amp;  Implementation Toolkit (RMC-IT)</vt:lpstr>
      <vt:lpstr>PowerPoint Presentation</vt:lpstr>
      <vt:lpstr>Active Listening Training Tools</vt:lpstr>
      <vt:lpstr> Resource for Shared Decision Making</vt:lpstr>
      <vt:lpstr>Birth Place Lab Person-Centered Decision Making Tool</vt:lpstr>
      <vt:lpstr>PowerPoint Presentation</vt:lpstr>
      <vt:lpstr>AHRQ SHARE Approach</vt:lpstr>
      <vt:lpstr>Sparrow Health Labor Partnership Agreement</vt:lpstr>
      <vt:lpstr>Ariadne Labs Delivery Decisions Initiative: TeamBirth Labor and Delivery Planning Board </vt:lpstr>
      <vt:lpstr>PowerPoint Presentation</vt:lpstr>
      <vt:lpstr> Other Respectful Care Resources</vt:lpstr>
      <vt:lpstr>ILPQC-Sponsored – FREE AWHONN Resource for your Respectful Care work:  Respectful Maternity Care Guideline  (RMC-EBG) &amp;  Implementation Toolkit (RMC-IT)</vt:lpstr>
      <vt:lpstr>*FREE* ACOG Respectful Care eModules: </vt:lpstr>
      <vt:lpstr>Doula Engagement Strategies</vt:lpstr>
      <vt:lpstr>All those who completed the ILPQC hosted Speak Up Trainings in November 2021, January or June 2022  are eligible for the Ambassador Course </vt:lpstr>
      <vt:lpstr>How-To: Review PREM Survey Reports</vt:lpstr>
      <vt:lpstr>PREM Survey Dashboard Review – Accessing Data</vt:lpstr>
      <vt:lpstr>PREM Survey Dashboard Review – Accessing Data</vt:lpstr>
      <vt:lpstr>PREM Survey Dashboard Review – Accessing Data</vt:lpstr>
      <vt:lpstr>PREM Survey Dashboard Review – Accessing Data</vt:lpstr>
      <vt:lpstr>PREM Survey Dashboard Review – Accessing Data</vt:lpstr>
      <vt:lpstr>PREM Survey Dashboard Review – Accessing Data</vt:lpstr>
      <vt:lpstr>PREM Survey Dashboard Review – Accessing Data</vt:lpstr>
      <vt:lpstr>NEW REDCap FEATURE! Cumulative PREM Reports (Tab #16)  We heard you &amp; updated the PREM dashboard to include the ability to view all Cumulative PREM data on one tab</vt:lpstr>
      <vt:lpstr>PowerPoint Presentation</vt:lpstr>
      <vt:lpstr>PowerPoint Presentation</vt:lpstr>
      <vt:lpstr>PowerPoint Presentation</vt:lpstr>
      <vt:lpstr>PowerPoint Presentation</vt:lpstr>
      <vt:lpstr>How to review your PREM Data</vt:lpstr>
      <vt:lpstr>Team Talk: Swedish American Hospital, Rockford, IL</vt:lpstr>
      <vt:lpstr>UW Health- Swedish American Hospital Strategies</vt:lpstr>
      <vt:lpstr>Respectful Care Practices</vt:lpstr>
      <vt:lpstr>PREM Survey buy-in</vt:lpstr>
      <vt:lpstr>PREM Survey Completion</vt:lpstr>
      <vt:lpstr>PREM Survey Results Leading to Improvements </vt:lpstr>
      <vt:lpstr>Team Talk: Advocate Illinois Masonic Medical Center, Chicago, IL</vt:lpstr>
      <vt:lpstr>Implementation of the PREM Survey at Illinois Masonic Medical Center</vt:lpstr>
      <vt:lpstr>About AIMMC</vt:lpstr>
      <vt:lpstr>Key stakeholders</vt:lpstr>
      <vt:lpstr>Birth Equity Strategies  </vt:lpstr>
      <vt:lpstr>Implementation of the PREM Survey</vt:lpstr>
      <vt:lpstr>Continued Implementation</vt:lpstr>
      <vt:lpstr>Birth Cloth Incentive</vt:lpstr>
      <vt:lpstr>PREM Survey Collection</vt:lpstr>
      <vt:lpstr>PREM Survey Collection</vt:lpstr>
      <vt:lpstr>Next steps &amp; Opportunities</vt:lpstr>
      <vt:lpstr>Questions?</vt:lpstr>
      <vt:lpstr>Changes to SNAP Benefits</vt:lpstr>
      <vt:lpstr>Upcoming ILPQC BE calls</vt:lpstr>
      <vt:lpstr>Upcoming BE Cal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ena Lida Surenian</dc:creator>
  <cp:lastModifiedBy>Aleena Lida Surenian</cp:lastModifiedBy>
  <cp:revision>985</cp:revision>
  <dcterms:created xsi:type="dcterms:W3CDTF">2023-02-21T14:56:45Z</dcterms:created>
  <dcterms:modified xsi:type="dcterms:W3CDTF">2023-04-17T23:58:20Z</dcterms:modified>
</cp:coreProperties>
</file>